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0" r:id="rId1"/>
  </p:sldMasterIdLst>
  <p:notesMasterIdLst>
    <p:notesMasterId r:id="rId16"/>
  </p:notesMasterIdLst>
  <p:sldIdLst>
    <p:sldId id="256" r:id="rId2"/>
    <p:sldId id="269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</p:sldIdLst>
  <p:sldSz cx="12192000" cy="6858000"/>
  <p:notesSz cx="6858000" cy="9144000"/>
  <p:embeddedFontLst>
    <p:embeddedFont>
      <p:font typeface="Lato" panose="020B0604020202020204" charset="0"/>
      <p:regular r:id="rId17"/>
      <p:bold r:id="rId18"/>
      <p:italic r:id="rId19"/>
      <p:boldItalic r:id="rId20"/>
    </p:embeddedFont>
    <p:embeddedFont>
      <p:font typeface="Playfair Display" panose="020B0604020202020204" charset="0"/>
      <p:regular r:id="rId21"/>
      <p:bold r:id="rId22"/>
      <p:italic r:id="rId23"/>
      <p:boldItalic r:id="rId24"/>
    </p:embeddedFont>
    <p:embeddedFont>
      <p:font typeface="Trebuchet MS" panose="020B0603020202020204" pitchFamily="34" charset="0"/>
      <p:regular r:id="rId25"/>
      <p:bold r:id="rId26"/>
      <p:italic r:id="rId27"/>
      <p:boldItalic r:id="rId28"/>
    </p:embeddedFont>
    <p:embeddedFont>
      <p:font typeface="Calibri" panose="020F0502020204030204" pitchFamily="34" charset="0"/>
      <p:regular r:id="rId29"/>
      <p:bold r:id="rId30"/>
      <p:italic r:id="rId31"/>
      <p:boldItalic r:id="rId32"/>
    </p:embeddedFont>
  </p:embeddedFontLst>
  <p:custDataLst>
    <p:tags r:id="rId3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228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943227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g720dea6da5_0_1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3" name="Google Shape;63;g720dea6da5_0_1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674869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g720dea6da5_0_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" name="Google Shape;115;g720dea6da5_0_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743832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720dea6da5_0_1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720dea6da5_0_1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930767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g720dece210_2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5" name="Google Shape;125;g720dece210_2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794750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g720dea6da5_0_1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0" name="Google Shape;130;g720dea6da5_0_14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567739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87682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75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205937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" name="Google Shape;84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92944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0" name="Google Shape;90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30971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g720dea6da5_0_6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5" name="Google Shape;95;g720dea6da5_0_6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377436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g720dece210_1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g720dece210_1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942214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g720dece210_1_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" name="Google Shape;105;g720dece210_1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862271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720dece210_1_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" name="Google Shape;110;g720dece210_1_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660469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3665400" y="998400"/>
            <a:ext cx="4861200" cy="48612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3990600" y="1323600"/>
            <a:ext cx="4210800" cy="4210800"/>
          </a:xfrm>
          <a:prstGeom prst="rect">
            <a:avLst/>
          </a:prstGeom>
          <a:noFill/>
          <a:ln w="28575" cap="flat" cmpd="sng">
            <a:solidFill>
              <a:schemeClr val="lt1"/>
            </a:solidFill>
            <a:prstDash val="solid"/>
            <a:miter lim="8000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4128333" y="2169600"/>
            <a:ext cx="3935100" cy="21123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Font typeface="Lato"/>
              <a:buNone/>
              <a:def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Font typeface="Lato"/>
              <a:buNone/>
              <a:def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Font typeface="Lato"/>
              <a:buNone/>
              <a:def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Font typeface="Lato"/>
              <a:buNone/>
              <a:def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Font typeface="Lato"/>
              <a:buNone/>
              <a:def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Font typeface="Lato"/>
              <a:buNone/>
              <a:def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Font typeface="Lato"/>
              <a:buNone/>
              <a:def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Font typeface="Lato"/>
              <a:buNone/>
              <a:def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300"/>
              <a:buFont typeface="Lato"/>
              <a:buNone/>
              <a:defRPr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4128483" y="4355907"/>
            <a:ext cx="3935100" cy="9351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layfair Display"/>
              <a:buNone/>
              <a:defRPr b="1">
                <a:solidFill>
                  <a:schemeClr val="l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layfair Display"/>
              <a:buNone/>
              <a:defRPr sz="2400" b="1">
                <a:solidFill>
                  <a:schemeClr val="l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layfair Display"/>
              <a:buNone/>
              <a:defRPr sz="2400" b="1">
                <a:solidFill>
                  <a:schemeClr val="l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layfair Display"/>
              <a:buNone/>
              <a:defRPr sz="2400" b="1">
                <a:solidFill>
                  <a:schemeClr val="l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layfair Display"/>
              <a:buNone/>
              <a:defRPr sz="2400" b="1">
                <a:solidFill>
                  <a:schemeClr val="l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layfair Display"/>
              <a:buNone/>
              <a:defRPr sz="2400" b="1">
                <a:solidFill>
                  <a:schemeClr val="l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layfair Display"/>
              <a:buNone/>
              <a:defRPr sz="2400" b="1">
                <a:solidFill>
                  <a:schemeClr val="l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layfair Display"/>
              <a:buNone/>
              <a:defRPr sz="2400" b="1">
                <a:solidFill>
                  <a:schemeClr val="l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Playfair Display"/>
              <a:buNone/>
              <a:defRPr sz="2400" b="1">
                <a:solidFill>
                  <a:schemeClr val="l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1"/>
          <p:cNvSpPr/>
          <p:nvPr/>
        </p:nvSpPr>
        <p:spPr>
          <a:xfrm>
            <a:off x="0" y="6727600"/>
            <a:ext cx="12192000" cy="1305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" name="Google Shape;50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644133"/>
            <a:ext cx="11360700" cy="21468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3300"/>
              <a:buFont typeface="Lato"/>
              <a:buNone/>
              <a:defRPr sz="13300">
                <a:latin typeface="Lato"/>
                <a:ea typeface="Lato"/>
                <a:cs typeface="Lato"/>
                <a:sym typeface="Lato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3300"/>
              <a:buFont typeface="Lato"/>
              <a:buNone/>
              <a:defRPr sz="13300">
                <a:latin typeface="Lato"/>
                <a:ea typeface="Lato"/>
                <a:cs typeface="Lato"/>
                <a:sym typeface="Lato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SzPts val="13300"/>
              <a:buFont typeface="Lato"/>
              <a:buNone/>
              <a:defRPr sz="13300">
                <a:latin typeface="Lato"/>
                <a:ea typeface="Lato"/>
                <a:cs typeface="Lato"/>
                <a:sym typeface="Lato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SzPts val="13300"/>
              <a:buFont typeface="Lato"/>
              <a:buNone/>
              <a:defRPr sz="13300">
                <a:latin typeface="Lato"/>
                <a:ea typeface="Lato"/>
                <a:cs typeface="Lato"/>
                <a:sym typeface="Lato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SzPts val="13300"/>
              <a:buFont typeface="Lato"/>
              <a:buNone/>
              <a:defRPr sz="13300">
                <a:latin typeface="Lato"/>
                <a:ea typeface="Lato"/>
                <a:cs typeface="Lato"/>
                <a:sym typeface="Lato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SzPts val="13300"/>
              <a:buFont typeface="Lato"/>
              <a:buNone/>
              <a:defRPr sz="13300">
                <a:latin typeface="Lato"/>
                <a:ea typeface="Lato"/>
                <a:cs typeface="Lato"/>
                <a:sym typeface="Lato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SzPts val="13300"/>
              <a:buFont typeface="Lato"/>
              <a:buNone/>
              <a:defRPr sz="13300">
                <a:latin typeface="Lato"/>
                <a:ea typeface="Lato"/>
                <a:cs typeface="Lato"/>
                <a:sym typeface="Lato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SzPts val="13300"/>
              <a:buFont typeface="Lato"/>
              <a:buNone/>
              <a:defRPr sz="13300">
                <a:latin typeface="Lato"/>
                <a:ea typeface="Lato"/>
                <a:cs typeface="Lato"/>
                <a:sym typeface="Lato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SzPts val="13300"/>
              <a:buFont typeface="Lato"/>
              <a:buNone/>
              <a:defRPr sz="13300">
                <a:latin typeface="Lato"/>
                <a:ea typeface="Lato"/>
                <a:cs typeface="Lato"/>
                <a:sym typeface="Lato"/>
              </a:defRPr>
            </a:lvl9pPr>
          </a:lstStyle>
          <a:p>
            <a:r>
              <a:t>xx%</a:t>
            </a:r>
          </a:p>
        </p:txBody>
      </p:sp>
      <p:sp>
        <p:nvSpPr>
          <p:cNvPr id="51" name="Google Shape;51;p11"/>
          <p:cNvSpPr txBox="1">
            <a:spLocks noGrp="1"/>
          </p:cNvSpPr>
          <p:nvPr>
            <p:ph type="body" idx="1"/>
          </p:nvPr>
        </p:nvSpPr>
        <p:spPr>
          <a:xfrm>
            <a:off x="415600" y="3892600"/>
            <a:ext cx="11360700" cy="14289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81000" algn="ctr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914400" lvl="1" indent="-349250" algn="ctr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2pPr>
            <a:lvl3pPr marL="1371600" lvl="2" indent="-349250" algn="ctr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3pPr>
            <a:lvl4pPr marL="1828800" lvl="3" indent="-349250" algn="ctr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4pPr>
            <a:lvl5pPr marL="2286000" lvl="4" indent="-349250" algn="ctr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5pPr>
            <a:lvl6pPr marL="2743200" lvl="5" indent="-349250" algn="ctr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6pPr>
            <a:lvl7pPr marL="3200400" lvl="6" indent="-349250" algn="ctr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7pPr>
            <a:lvl8pPr marL="3657600" lvl="7" indent="-349250" algn="ctr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8pPr>
            <a:lvl9pPr marL="4114800" lvl="8" indent="-349250" algn="ctr">
              <a:spcBef>
                <a:spcPts val="2100"/>
              </a:spcBef>
              <a:spcAft>
                <a:spcPts val="210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52" name="Google Shape;52;p11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2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e Conteúdo" type="obj">
  <p:cSld name="OBJECT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58" name="Google Shape;58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Atividade P+L_final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456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bg>
      <p:bgPr>
        <a:solidFill>
          <a:schemeClr val="dk1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3"/>
          <p:cNvSpPr txBox="1">
            <a:spLocks noGrp="1"/>
          </p:cNvSpPr>
          <p:nvPr>
            <p:ph type="title"/>
          </p:nvPr>
        </p:nvSpPr>
        <p:spPr>
          <a:xfrm>
            <a:off x="679400" y="1898500"/>
            <a:ext cx="10833300" cy="23976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7" name="Google Shape;17;p3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/>
          <p:nvPr/>
        </p:nvSpPr>
        <p:spPr>
          <a:xfrm>
            <a:off x="0" y="6727600"/>
            <a:ext cx="12192000" cy="1305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415600" y="521800"/>
            <a:ext cx="11360700" cy="8349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7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8100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914400" lvl="1" indent="-34925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2pPr>
            <a:lvl3pPr marL="1371600" lvl="2" indent="-349250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3pPr>
            <a:lvl4pPr marL="1828800" lvl="3" indent="-349250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4pPr>
            <a:lvl5pPr marL="2286000" lvl="4" indent="-34925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5pPr>
            <a:lvl6pPr marL="2743200" lvl="5" indent="-349250">
              <a:spcBef>
                <a:spcPts val="2100"/>
              </a:spcBef>
              <a:spcAft>
                <a:spcPts val="0"/>
              </a:spcAft>
              <a:buSzPts val="1900"/>
              <a:buChar char="■"/>
              <a:defRPr/>
            </a:lvl6pPr>
            <a:lvl7pPr marL="3200400" lvl="6" indent="-349250">
              <a:spcBef>
                <a:spcPts val="2100"/>
              </a:spcBef>
              <a:spcAft>
                <a:spcPts val="0"/>
              </a:spcAft>
              <a:buSzPts val="1900"/>
              <a:buChar char="●"/>
              <a:defRPr/>
            </a:lvl7pPr>
            <a:lvl8pPr marL="3657600" lvl="7" indent="-349250">
              <a:spcBef>
                <a:spcPts val="2100"/>
              </a:spcBef>
              <a:spcAft>
                <a:spcPts val="0"/>
              </a:spcAft>
              <a:buSzPts val="1900"/>
              <a:buChar char="○"/>
              <a:defRPr/>
            </a:lvl8pPr>
            <a:lvl9pPr marL="4114800" lvl="8" indent="-349250">
              <a:spcBef>
                <a:spcPts val="2100"/>
              </a:spcBef>
              <a:spcAft>
                <a:spcPts val="210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5"/>
          <p:cNvSpPr txBox="1">
            <a:spLocks noGrp="1"/>
          </p:cNvSpPr>
          <p:nvPr>
            <p:ph type="title"/>
          </p:nvPr>
        </p:nvSpPr>
        <p:spPr>
          <a:xfrm>
            <a:off x="415600" y="521800"/>
            <a:ext cx="11360700" cy="8349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1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49250">
              <a:spcBef>
                <a:spcPts val="0"/>
              </a:spcBef>
              <a:spcAft>
                <a:spcPts val="0"/>
              </a:spcAft>
              <a:buSzPts val="1900"/>
              <a:buChar char="●"/>
              <a:defRPr sz="1900"/>
            </a:lvl1pPr>
            <a:lvl2pPr marL="914400" lvl="1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>
              <a:spcBef>
                <a:spcPts val="2100"/>
              </a:spcBef>
              <a:spcAft>
                <a:spcPts val="210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1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49250">
              <a:spcBef>
                <a:spcPts val="0"/>
              </a:spcBef>
              <a:spcAft>
                <a:spcPts val="0"/>
              </a:spcAft>
              <a:buSzPts val="1900"/>
              <a:buChar char="●"/>
              <a:defRPr sz="1900"/>
            </a:lvl1pPr>
            <a:lvl2pPr marL="914400" lvl="1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>
              <a:spcBef>
                <a:spcPts val="2100"/>
              </a:spcBef>
              <a:spcAft>
                <a:spcPts val="210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 txBox="1">
            <a:spLocks noGrp="1"/>
          </p:cNvSpPr>
          <p:nvPr>
            <p:ph type="title"/>
          </p:nvPr>
        </p:nvSpPr>
        <p:spPr>
          <a:xfrm>
            <a:off x="415600" y="521800"/>
            <a:ext cx="11360700" cy="8349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3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6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7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 sz="3200"/>
            </a:lvl9pPr>
          </a:lstStyle>
          <a:p>
            <a:endParaRPr/>
          </a:p>
        </p:txBody>
      </p:sp>
      <p:sp>
        <p:nvSpPr>
          <p:cNvPr id="33" name="Google Shape;33;p7"/>
          <p:cNvSpPr txBox="1">
            <a:spLocks noGrp="1"/>
          </p:cNvSpPr>
          <p:nvPr>
            <p:ph type="body" idx="1"/>
          </p:nvPr>
        </p:nvSpPr>
        <p:spPr>
          <a:xfrm>
            <a:off x="415600" y="1855170"/>
            <a:ext cx="3744000" cy="42393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3020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600"/>
            </a:lvl1pPr>
            <a:lvl2pPr marL="914400" lvl="1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2pPr>
            <a:lvl3pPr marL="1371600" lvl="2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3pPr>
            <a:lvl4pPr marL="1828800" lvl="3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4pPr>
            <a:lvl5pPr marL="2286000" lvl="4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5pPr>
            <a:lvl6pPr marL="2743200" lvl="5" indent="-330200">
              <a:spcBef>
                <a:spcPts val="2100"/>
              </a:spcBef>
              <a:spcAft>
                <a:spcPts val="0"/>
              </a:spcAft>
              <a:buSzPts val="1600"/>
              <a:buChar char="■"/>
              <a:defRPr sz="1600"/>
            </a:lvl6pPr>
            <a:lvl7pPr marL="3200400" lvl="6" indent="-330200">
              <a:spcBef>
                <a:spcPts val="2100"/>
              </a:spcBef>
              <a:spcAft>
                <a:spcPts val="0"/>
              </a:spcAft>
              <a:buSzPts val="1600"/>
              <a:buChar char="●"/>
              <a:defRPr sz="1600"/>
            </a:lvl7pPr>
            <a:lvl8pPr marL="3657600" lvl="7" indent="-330200">
              <a:spcBef>
                <a:spcPts val="2100"/>
              </a:spcBef>
              <a:spcAft>
                <a:spcPts val="0"/>
              </a:spcAft>
              <a:buSzPts val="1600"/>
              <a:buChar char="○"/>
              <a:defRPr sz="1600"/>
            </a:lvl8pPr>
            <a:lvl9pPr marL="4114800" lvl="8" indent="-330200">
              <a:spcBef>
                <a:spcPts val="2100"/>
              </a:spcBef>
              <a:spcAft>
                <a:spcPts val="2100"/>
              </a:spcAft>
              <a:buSzPts val="1600"/>
              <a:buChar char="■"/>
              <a:defRPr sz="1600"/>
            </a:lvl9pPr>
          </a:lstStyle>
          <a:p>
            <a:endParaRPr/>
          </a:p>
        </p:txBody>
      </p:sp>
      <p:sp>
        <p:nvSpPr>
          <p:cNvPr id="34" name="Google Shape;34;p7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bg>
      <p:bgPr>
        <a:solidFill>
          <a:schemeClr val="dk2"/>
        </a:solidFill>
        <a:effectLst/>
      </p:bgPr>
    </p:bg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8"/>
          <p:cNvSpPr txBox="1">
            <a:spLocks noGrp="1"/>
          </p:cNvSpPr>
          <p:nvPr>
            <p:ph type="title"/>
          </p:nvPr>
        </p:nvSpPr>
        <p:spPr>
          <a:xfrm>
            <a:off x="653667" y="701800"/>
            <a:ext cx="7491600" cy="54543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400"/>
              <a:buFont typeface="Lato"/>
              <a:buNone/>
              <a:defRPr sz="6400" b="0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37" name="Google Shape;37;p8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9"/>
          <p:cNvSpPr/>
          <p:nvPr/>
        </p:nvSpPr>
        <p:spPr>
          <a:xfrm>
            <a:off x="6096000" y="-33"/>
            <a:ext cx="6096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0" name="Google Shape;40;p9"/>
          <p:cNvCxnSpPr/>
          <p:nvPr/>
        </p:nvCxnSpPr>
        <p:spPr>
          <a:xfrm>
            <a:off x="6706233" y="5994000"/>
            <a:ext cx="624300" cy="0"/>
          </a:xfrm>
          <a:prstGeom prst="straightConnector1">
            <a:avLst/>
          </a:prstGeom>
          <a:noFill/>
          <a:ln w="1905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41;p9"/>
          <p:cNvSpPr txBox="1">
            <a:spLocks noGrp="1"/>
          </p:cNvSpPr>
          <p:nvPr>
            <p:ph type="title"/>
          </p:nvPr>
        </p:nvSpPr>
        <p:spPr>
          <a:xfrm>
            <a:off x="354000" y="1477267"/>
            <a:ext cx="5393700" cy="22449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5600"/>
              <a:buNone/>
              <a:defRPr sz="5600"/>
            </a:lvl9pPr>
          </a:lstStyle>
          <a:p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subTitle" idx="1"/>
          </p:nvPr>
        </p:nvSpPr>
        <p:spPr>
          <a:xfrm>
            <a:off x="354000" y="3793601"/>
            <a:ext cx="5393700" cy="1794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43" name="Google Shape;43;p9"/>
          <p:cNvSpPr txBox="1">
            <a:spLocks noGrp="1"/>
          </p:cNvSpPr>
          <p:nvPr>
            <p:ph type="body" idx="2"/>
          </p:nvPr>
        </p:nvSpPr>
        <p:spPr>
          <a:xfrm>
            <a:off x="6586000" y="965600"/>
            <a:ext cx="5115900" cy="49269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marL="457200" lvl="0" indent="-3810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Char char="●"/>
              <a:defRPr>
                <a:solidFill>
                  <a:schemeClr val="lt1"/>
                </a:solidFill>
              </a:defRPr>
            </a:lvl1pPr>
            <a:lvl2pPr marL="914400" lvl="1" indent="-349250"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900"/>
              <a:buChar char="○"/>
              <a:defRPr>
                <a:solidFill>
                  <a:schemeClr val="lt1"/>
                </a:solidFill>
              </a:defRPr>
            </a:lvl2pPr>
            <a:lvl3pPr marL="1371600" lvl="2" indent="-349250"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900"/>
              <a:buChar char="■"/>
              <a:defRPr>
                <a:solidFill>
                  <a:schemeClr val="lt1"/>
                </a:solidFill>
              </a:defRPr>
            </a:lvl3pPr>
            <a:lvl4pPr marL="1828800" lvl="3" indent="-349250"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900"/>
              <a:buChar char="●"/>
              <a:defRPr>
                <a:solidFill>
                  <a:schemeClr val="lt1"/>
                </a:solidFill>
              </a:defRPr>
            </a:lvl4pPr>
            <a:lvl5pPr marL="2286000" lvl="4" indent="-349250"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900"/>
              <a:buChar char="○"/>
              <a:defRPr>
                <a:solidFill>
                  <a:schemeClr val="lt1"/>
                </a:solidFill>
              </a:defRPr>
            </a:lvl5pPr>
            <a:lvl6pPr marL="2743200" lvl="5" indent="-349250"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900"/>
              <a:buChar char="■"/>
              <a:defRPr>
                <a:solidFill>
                  <a:schemeClr val="lt1"/>
                </a:solidFill>
              </a:defRPr>
            </a:lvl6pPr>
            <a:lvl7pPr marL="3200400" lvl="6" indent="-349250"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900"/>
              <a:buChar char="●"/>
              <a:defRPr>
                <a:solidFill>
                  <a:schemeClr val="lt1"/>
                </a:solidFill>
              </a:defRPr>
            </a:lvl7pPr>
            <a:lvl8pPr marL="3657600" lvl="7" indent="-349250">
              <a:spcBef>
                <a:spcPts val="2100"/>
              </a:spcBef>
              <a:spcAft>
                <a:spcPts val="0"/>
              </a:spcAft>
              <a:buClr>
                <a:schemeClr val="lt1"/>
              </a:buClr>
              <a:buSzPts val="1900"/>
              <a:buChar char="○"/>
              <a:defRPr>
                <a:solidFill>
                  <a:schemeClr val="lt1"/>
                </a:solidFill>
              </a:defRPr>
            </a:lvl8pPr>
            <a:lvl9pPr marL="4114800" lvl="8" indent="-349250">
              <a:spcBef>
                <a:spcPts val="2100"/>
              </a:spcBef>
              <a:spcAft>
                <a:spcPts val="2100"/>
              </a:spcAft>
              <a:buClr>
                <a:schemeClr val="lt1"/>
              </a:buClr>
              <a:buSzPts val="1900"/>
              <a:buChar char="■"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9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0"/>
          <p:cNvSpPr txBox="1">
            <a:spLocks noGrp="1"/>
          </p:cNvSpPr>
          <p:nvPr>
            <p:ph type="body" idx="1"/>
          </p:nvPr>
        </p:nvSpPr>
        <p:spPr>
          <a:xfrm>
            <a:off x="426000" y="5640767"/>
            <a:ext cx="7998300" cy="7983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/>
            </a:lvl1pPr>
          </a:lstStyle>
          <a:p>
            <a:endParaRPr/>
          </a:p>
        </p:txBody>
      </p:sp>
      <p:sp>
        <p:nvSpPr>
          <p:cNvPr id="47" name="Google Shape;47;p10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coral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21800"/>
            <a:ext cx="11360700" cy="8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Font typeface="Playfair Display"/>
              <a:buNone/>
              <a:defRPr sz="4300" b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Font typeface="Playfair Display"/>
              <a:buNone/>
              <a:defRPr sz="4300" b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Font typeface="Playfair Display"/>
              <a:buNone/>
              <a:defRPr sz="4300" b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Font typeface="Playfair Display"/>
              <a:buNone/>
              <a:defRPr sz="4300" b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Font typeface="Playfair Display"/>
              <a:buNone/>
              <a:defRPr sz="4300" b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Font typeface="Playfair Display"/>
              <a:buNone/>
              <a:defRPr sz="4300" b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Font typeface="Playfair Display"/>
              <a:buNone/>
              <a:defRPr sz="4300" b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Font typeface="Playfair Display"/>
              <a:buNone/>
              <a:defRPr sz="4300" b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300"/>
              <a:buFont typeface="Playfair Display"/>
              <a:buNone/>
              <a:defRPr sz="4300" b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7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lvl1pPr marL="457200" lvl="0" indent="-3810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●"/>
              <a:defRPr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lvl="1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Char char="○"/>
              <a:defRPr sz="19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lvl="2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Char char="■"/>
              <a:defRPr sz="19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lvl="3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Char char="●"/>
              <a:defRPr sz="19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lvl="4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Char char="○"/>
              <a:defRPr sz="19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lvl="5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Char char="■"/>
              <a:defRPr sz="19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lvl="6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Char char="●"/>
              <a:defRPr sz="19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lvl="7" indent="-349250">
              <a:lnSpc>
                <a:spcPct val="115000"/>
              </a:lnSpc>
              <a:spcBef>
                <a:spcPts val="2100"/>
              </a:spcBef>
              <a:spcAft>
                <a:spcPts val="0"/>
              </a:spcAft>
              <a:buClr>
                <a:schemeClr val="dk2"/>
              </a:buClr>
              <a:buSzPts val="1900"/>
              <a:buFont typeface="Lato"/>
              <a:buChar char="○"/>
              <a:defRPr sz="19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lvl="8" indent="-349250">
              <a:lnSpc>
                <a:spcPct val="115000"/>
              </a:lnSpc>
              <a:spcBef>
                <a:spcPts val="2100"/>
              </a:spcBef>
              <a:spcAft>
                <a:spcPts val="2100"/>
              </a:spcAft>
              <a:buClr>
                <a:schemeClr val="dk2"/>
              </a:buClr>
              <a:buSzPts val="1900"/>
              <a:buFont typeface="Lato"/>
              <a:buChar char="■"/>
              <a:defRPr sz="19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320333" y="6241346"/>
            <a:ext cx="7317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lvl1pPr lvl="0" algn="r">
              <a:buNone/>
              <a:defRPr sz="13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algn="r">
              <a:buNone/>
              <a:defRPr sz="13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lvl="2" algn="r">
              <a:buNone/>
              <a:defRPr sz="13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lvl="3" algn="r">
              <a:buNone/>
              <a:defRPr sz="13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lvl="4" algn="r">
              <a:buNone/>
              <a:defRPr sz="13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lvl="5" algn="r">
              <a:buNone/>
              <a:defRPr sz="13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lvl="6" algn="r">
              <a:buNone/>
              <a:defRPr sz="13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lvl="7" algn="r">
              <a:buNone/>
              <a:defRPr sz="13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lvl="8" algn="r">
              <a:buNone/>
              <a:defRPr sz="13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4"/>
          <p:cNvSpPr txBox="1">
            <a:spLocks noGrp="1"/>
          </p:cNvSpPr>
          <p:nvPr>
            <p:ph type="title"/>
          </p:nvPr>
        </p:nvSpPr>
        <p:spPr>
          <a:xfrm>
            <a:off x="679350" y="394700"/>
            <a:ext cx="10833300" cy="11256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1"/>
              <a:t>PHA3513: Sustentabilidade no Setor Produtivo</a:t>
            </a:r>
            <a:endParaRPr/>
          </a:p>
        </p:txBody>
      </p:sp>
      <p:sp>
        <p:nvSpPr>
          <p:cNvPr id="66" name="Google Shape;66;p14"/>
          <p:cNvSpPr txBox="1"/>
          <p:nvPr/>
        </p:nvSpPr>
        <p:spPr>
          <a:xfrm>
            <a:off x="3204000" y="1520300"/>
            <a:ext cx="5784000" cy="148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Atividade 3: </a:t>
            </a:r>
            <a:endParaRPr sz="4000" b="1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4000" b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Produção Mais Limpa e Prevenção à Poluição</a:t>
            </a:r>
            <a:endParaRPr sz="4000" b="1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7" name="Google Shape;67;p14"/>
          <p:cNvSpPr txBox="1"/>
          <p:nvPr/>
        </p:nvSpPr>
        <p:spPr>
          <a:xfrm>
            <a:off x="3078000" y="4280100"/>
            <a:ext cx="6036000" cy="257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Bruno Soiti K. Marino 8990768</a:t>
            </a:r>
            <a:endParaRPr sz="2400" b="1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Caio Santo Siqueira 10410177</a:t>
            </a:r>
            <a:endParaRPr sz="2400" b="1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Isabela Simões Dornelas 9839096 </a:t>
            </a:r>
            <a:endParaRPr sz="2400" b="1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 b="1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Victor Venancio 9922791</a:t>
            </a:r>
            <a:endParaRPr sz="2400" b="1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22"/>
          <p:cNvSpPr txBox="1">
            <a:spLocks noGrp="1"/>
          </p:cNvSpPr>
          <p:nvPr>
            <p:ph type="body" idx="1"/>
          </p:nvPr>
        </p:nvSpPr>
        <p:spPr>
          <a:xfrm>
            <a:off x="838200" y="379828"/>
            <a:ext cx="10515600" cy="57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Char char="●"/>
            </a:pPr>
            <a:r>
              <a:rPr lang="pt-BR">
                <a:solidFill>
                  <a:schemeClr val="dk1"/>
                </a:solidFill>
              </a:rPr>
              <a:t>Avaliação final dos resultados:</a:t>
            </a:r>
            <a:endParaRPr/>
          </a:p>
          <a:p>
            <a:pPr marL="685800" lvl="1" indent="-2921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2800"/>
              <a:buChar char="○"/>
            </a:pPr>
            <a:r>
              <a:rPr lang="pt-BR"/>
              <a:t>Eliminação de 0,90 kg/ano de cromo hexavalente e 1,22 kg/ano de chumbo nas correntes de efluentes a serem tratadas</a:t>
            </a:r>
            <a:endParaRPr/>
          </a:p>
          <a:p>
            <a:pPr marL="685800" lvl="1" indent="-2921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2800"/>
              <a:buChar char="○"/>
            </a:pPr>
            <a:r>
              <a:rPr lang="pt-BR"/>
              <a:t>Efeitos:</a:t>
            </a:r>
            <a:endParaRPr/>
          </a:p>
          <a:p>
            <a:pPr marL="1143000" lvl="2" indent="-2921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2800"/>
              <a:buChar char="■"/>
            </a:pPr>
            <a:r>
              <a:rPr lang="pt-BR"/>
              <a:t>redução dos custos no tratamento e disposição do lodo,</a:t>
            </a:r>
            <a:endParaRPr/>
          </a:p>
          <a:p>
            <a:pPr marL="1143000" lvl="2" indent="-2921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2800"/>
              <a:buChar char="■"/>
            </a:pPr>
            <a:r>
              <a:rPr lang="pt-BR"/>
              <a:t>atendimento à legislação para lançamento de efluentes (padrão de Cromo)</a:t>
            </a:r>
            <a:endParaRPr/>
          </a:p>
          <a:p>
            <a:pPr marL="1143000" lvl="2" indent="-2921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2800"/>
              <a:buChar char="■"/>
            </a:pPr>
            <a:r>
              <a:rPr lang="pt-BR"/>
              <a:t>conformidade às exigências dos clientes, abrindo novos mercados para exportação</a:t>
            </a:r>
            <a:endParaRPr/>
          </a:p>
          <a:p>
            <a:pPr marL="228600" lvl="0" indent="-29210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Clr>
                <a:schemeClr val="dk1"/>
              </a:buClr>
              <a:buSzPts val="2800"/>
              <a:buChar char="●"/>
            </a:pPr>
            <a:r>
              <a:rPr lang="pt-BR">
                <a:solidFill>
                  <a:schemeClr val="dk1"/>
                </a:solidFill>
              </a:rPr>
              <a:t>Ações futuras:</a:t>
            </a:r>
            <a:r>
              <a:rPr lang="pt-BR"/>
              <a:t> reúso, no processo industrial, do efluente tratado na ETDI, após seu polimento em unidades de desmineralização</a:t>
            </a: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23"/>
          <p:cNvSpPr txBox="1">
            <a:spLocks noGrp="1"/>
          </p:cNvSpPr>
          <p:nvPr>
            <p:ph type="ctrTitle"/>
          </p:nvPr>
        </p:nvSpPr>
        <p:spPr>
          <a:xfrm>
            <a:off x="4128458" y="2372850"/>
            <a:ext cx="3935100" cy="211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/>
              <a:t>Caso 33:</a:t>
            </a:r>
            <a:endParaRPr sz="3000"/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500"/>
              <a:t>Reutilização de solução de soda cáustica na ETE</a:t>
            </a:r>
            <a:endParaRPr sz="350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24"/>
          <p:cNvSpPr txBox="1"/>
          <p:nvPr/>
        </p:nvSpPr>
        <p:spPr>
          <a:xfrm>
            <a:off x="626100" y="851100"/>
            <a:ext cx="10939800" cy="515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Lato"/>
              <a:buChar char="●"/>
            </a:pPr>
            <a:r>
              <a:rPr lang="pt-BR" sz="24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Empresa: </a:t>
            </a: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MAHLE METAL LEVE S.A.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Lato"/>
              <a:buChar char="●"/>
            </a:pPr>
            <a:r>
              <a:rPr lang="pt-BR" sz="24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Principal atividade: </a:t>
            </a: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Indústria metalúrgica de auto-peças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Lato"/>
              <a:buChar char="●"/>
            </a:pPr>
            <a:r>
              <a:rPr lang="pt-BR" sz="24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Produtos principais: </a:t>
            </a: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Pistões para motores a explosão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Forjamento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Decapagem: imersão em banho alcalino de soda cáustica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1371600" lvl="2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■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custo de descarte: R$0,20/kg de soda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Verificação de trincas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Usinagem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Paralelamente, na </a:t>
            </a:r>
            <a:r>
              <a:rPr lang="pt-BR" sz="24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ETE (Estação de Tratamento de Efluentes)</a:t>
            </a: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: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●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Operações de quebra química de óleos solúveis e de tratamento das águas de lavagem dos tratamentos de superfícies = Consumo de 58.800 kg de solução de soda cáustica anualmente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25"/>
          <p:cNvSpPr txBox="1"/>
          <p:nvPr/>
        </p:nvSpPr>
        <p:spPr>
          <a:xfrm>
            <a:off x="626100" y="851100"/>
            <a:ext cx="10939800" cy="515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Lato"/>
              <a:buChar char="●"/>
            </a:pPr>
            <a:r>
              <a:rPr lang="pt-BR" sz="24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Índices de desempenho: </a:t>
            </a:r>
            <a:endParaRPr sz="240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Forjaria: quantidade de soda cáustica a ser descartada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ETE: quantidade de soda cáustica a ser adquirida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Lato"/>
              <a:buChar char="●"/>
            </a:pPr>
            <a:r>
              <a:rPr lang="pt-BR" sz="24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Oportunidade de implementação:</a:t>
            </a: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 redução de custos e eliminação de um resíduo industrial, através da reciclagem interna da soda cáustica utilizada nos  banhos de decapagem para uso na ETE.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Lato"/>
              <a:buChar char="●"/>
            </a:pPr>
            <a:r>
              <a:rPr lang="pt-BR" sz="24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Levantamento de tecnologias e implementação de P+L:  </a:t>
            </a: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Transferência dos banhos de soda cáustica usados na decapagem para um container especial, que pode ser transportado da forjaria para a ETE por meio de empilhadeiras. Na ETE, estes banhos são submetidos a um processo de decantação, sendo a fase líquida aproveitada em processos.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26"/>
          <p:cNvSpPr txBox="1"/>
          <p:nvPr/>
        </p:nvSpPr>
        <p:spPr>
          <a:xfrm>
            <a:off x="626100" y="851100"/>
            <a:ext cx="10939800" cy="515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Lato"/>
              <a:buChar char="●"/>
            </a:pPr>
            <a:r>
              <a:rPr lang="pt-BR" sz="24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Avaliação econômica: </a:t>
            </a:r>
            <a:endParaRPr sz="240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Container em aço carbono de 1200 L:  R$1250,00</a:t>
            </a:r>
            <a:endParaRPr sz="240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1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-3810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Lato"/>
              <a:buChar char="●"/>
            </a:pPr>
            <a:r>
              <a:rPr lang="pt-BR" sz="2400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rPr>
              <a:t>Avaliação final dos resultados:</a:t>
            </a: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 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diminuição da geração e do descarte de efluentes líquidos, bem como do uso de recursos naturais para fabricação de soda cáustica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ETE - economia na aquisição de soda cáustica: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FORJARIA - economia no descarte dos banhos de soda cáustica: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45720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  <a:p>
            <a:pPr marL="914400" lvl="1" indent="-3810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Lato"/>
              <a:buChar char="○"/>
            </a:pPr>
            <a:r>
              <a:rPr lang="pt-BR" sz="240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tempo de retorno simples: 13 dias </a:t>
            </a:r>
            <a:endParaRPr sz="2400">
              <a:solidFill>
                <a:schemeClr val="dk2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133" name="Google Shape;133;p26"/>
          <p:cNvPicPr preferRelativeResize="0"/>
          <p:nvPr/>
        </p:nvPicPr>
        <p:blipFill rotWithShape="1">
          <a:blip r:embed="rId3">
            <a:alphaModFix/>
          </a:blip>
          <a:srcRect l="28836" t="36426" r="28937" b="50681"/>
          <a:stretch/>
        </p:blipFill>
        <p:spPr>
          <a:xfrm>
            <a:off x="3521850" y="3489175"/>
            <a:ext cx="5148300" cy="8836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4" name="Google Shape;134;p26"/>
          <p:cNvPicPr preferRelativeResize="0"/>
          <p:nvPr/>
        </p:nvPicPr>
        <p:blipFill rotWithShape="1">
          <a:blip r:embed="rId4">
            <a:alphaModFix/>
          </a:blip>
          <a:srcRect l="28845" t="53820" r="28926" b="33288"/>
          <a:stretch/>
        </p:blipFill>
        <p:spPr>
          <a:xfrm>
            <a:off x="3521850" y="5009325"/>
            <a:ext cx="5148300" cy="8836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320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 smtClean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err="1" smtClean="0">
                <a:solidFill>
                  <a:srgbClr val="E71C57"/>
                </a:solidFill>
              </a:rPr>
              <a:t>Apresentaremos</a:t>
            </a:r>
            <a:r>
              <a:rPr lang="en-US" sz="2400" dirty="0" smtClean="0">
                <a:solidFill>
                  <a:srgbClr val="E71C57"/>
                </a:solidFill>
              </a:rPr>
              <a:t> 3 </a:t>
            </a:r>
            <a:r>
              <a:rPr lang="en-US" sz="2400" dirty="0" err="1" smtClean="0">
                <a:solidFill>
                  <a:srgbClr val="E71C57"/>
                </a:solidFill>
              </a:rPr>
              <a:t>casos</a:t>
            </a:r>
            <a:r>
              <a:rPr lang="en-US" sz="2400" dirty="0" smtClean="0">
                <a:solidFill>
                  <a:srgbClr val="E71C57"/>
                </a:solidFill>
              </a:rPr>
              <a:t> de </a:t>
            </a:r>
            <a:r>
              <a:rPr lang="en-US" sz="2400" dirty="0" err="1" smtClean="0">
                <a:solidFill>
                  <a:srgbClr val="E71C57"/>
                </a:solidFill>
              </a:rPr>
              <a:t>Produção</a:t>
            </a:r>
            <a:r>
              <a:rPr lang="en-US" sz="2400" dirty="0" smtClean="0">
                <a:solidFill>
                  <a:srgbClr val="E71C57"/>
                </a:solidFill>
              </a:rPr>
              <a:t> </a:t>
            </a:r>
            <a:r>
              <a:rPr lang="en-US" sz="2400" dirty="0" err="1" smtClean="0">
                <a:solidFill>
                  <a:srgbClr val="E71C57"/>
                </a:solidFill>
              </a:rPr>
              <a:t>mais</a:t>
            </a:r>
            <a:r>
              <a:rPr lang="en-US" sz="2400" dirty="0" smtClean="0">
                <a:solidFill>
                  <a:srgbClr val="E71C57"/>
                </a:solidFill>
              </a:rPr>
              <a:t> </a:t>
            </a:r>
            <a:r>
              <a:rPr lang="en-US" sz="2400" dirty="0" err="1" smtClean="0">
                <a:solidFill>
                  <a:srgbClr val="E71C57"/>
                </a:solidFill>
              </a:rPr>
              <a:t>Limpa</a:t>
            </a:r>
            <a:r>
              <a:rPr lang="en-US" sz="2400" dirty="0" smtClean="0">
                <a:solidFill>
                  <a:srgbClr val="E71C57"/>
                </a:solidFill>
              </a:rPr>
              <a:t> que </a:t>
            </a:r>
            <a:r>
              <a:rPr lang="en-US" sz="2400" dirty="0" err="1" smtClean="0">
                <a:solidFill>
                  <a:srgbClr val="E71C57"/>
                </a:solidFill>
              </a:rPr>
              <a:t>trouxeram</a:t>
            </a:r>
            <a:r>
              <a:rPr lang="en-US" sz="2400" dirty="0" smtClean="0">
                <a:solidFill>
                  <a:srgbClr val="E71C57"/>
                </a:solidFill>
              </a:rPr>
              <a:t> </a:t>
            </a:r>
            <a:r>
              <a:rPr lang="en-US" sz="2400" dirty="0" err="1" smtClean="0">
                <a:solidFill>
                  <a:srgbClr val="E71C57"/>
                </a:solidFill>
              </a:rPr>
              <a:t>impactos</a:t>
            </a:r>
            <a:r>
              <a:rPr lang="en-US" sz="2400" dirty="0" smtClean="0">
                <a:solidFill>
                  <a:srgbClr val="E71C57"/>
                </a:solidFill>
              </a:rPr>
              <a:t> </a:t>
            </a:r>
            <a:r>
              <a:rPr lang="en-US" sz="2400" dirty="0" err="1" smtClean="0">
                <a:solidFill>
                  <a:srgbClr val="E71C57"/>
                </a:solidFill>
              </a:rPr>
              <a:t>financeiros</a:t>
            </a:r>
            <a:r>
              <a:rPr lang="en-US" sz="2400" dirty="0" smtClean="0">
                <a:solidFill>
                  <a:srgbClr val="E71C57"/>
                </a:solidFill>
              </a:rPr>
              <a:t> e </a:t>
            </a:r>
            <a:r>
              <a:rPr lang="en-US" sz="2400" dirty="0" err="1" smtClean="0">
                <a:solidFill>
                  <a:srgbClr val="E71C57"/>
                </a:solidFill>
              </a:rPr>
              <a:t>ambientais</a:t>
            </a:r>
            <a:r>
              <a:rPr lang="en-US" sz="2400" dirty="0" smtClean="0">
                <a:solidFill>
                  <a:srgbClr val="E71C57"/>
                </a:solidFill>
              </a:rPr>
              <a:t> </a:t>
            </a:r>
            <a:r>
              <a:rPr lang="en-US" sz="2400" dirty="0" err="1" smtClean="0">
                <a:solidFill>
                  <a:srgbClr val="E71C57"/>
                </a:solidFill>
              </a:rPr>
              <a:t>na</a:t>
            </a:r>
            <a:r>
              <a:rPr lang="en-US" sz="2400" dirty="0" smtClean="0">
                <a:solidFill>
                  <a:srgbClr val="E71C57"/>
                </a:solidFill>
              </a:rPr>
              <a:t> </a:t>
            </a:r>
            <a:r>
              <a:rPr lang="en-US" sz="2400" dirty="0" err="1" smtClean="0">
                <a:solidFill>
                  <a:srgbClr val="E71C57"/>
                </a:solidFill>
              </a:rPr>
              <a:t>indústria</a:t>
            </a:r>
            <a:endParaRPr lang="en-US" sz="2400" dirty="0">
              <a:solidFill>
                <a:srgbClr val="E71C57"/>
              </a:solidFill>
            </a:endParaRPr>
          </a:p>
        </p:txBody>
      </p:sp>
      <p:sp>
        <p:nvSpPr>
          <p:cNvPr id="5" name="BcgText 3"/>
          <p:cNvSpPr txBox="1"/>
          <p:nvPr/>
        </p:nvSpPr>
        <p:spPr>
          <a:xfrm>
            <a:off x="8114400" y="4791444"/>
            <a:ext cx="3448800" cy="1166400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en-US" sz="1600" b="1" dirty="0" err="1"/>
              <a:t>Caso</a:t>
            </a:r>
            <a:r>
              <a:rPr lang="en-US" sz="1600" b="1" dirty="0"/>
              <a:t> 33: </a:t>
            </a:r>
            <a:r>
              <a:rPr lang="pt-BR" sz="1600" b="1" dirty="0"/>
              <a:t>Reutilização de solução de soda cáustica na </a:t>
            </a:r>
            <a:r>
              <a:rPr lang="pt-BR" sz="1600" b="1" dirty="0" err="1"/>
              <a:t>ETE</a:t>
            </a:r>
            <a:endParaRPr lang="en-US" sz="1600" dirty="0">
              <a:solidFill>
                <a:srgbClr val="575757"/>
              </a:solidFill>
            </a:endParaRPr>
          </a:p>
          <a:p>
            <a:pPr algn="ctr">
              <a:buNone/>
            </a:pPr>
            <a:r>
              <a:rPr lang="en-US" sz="1400" dirty="0" err="1">
                <a:solidFill>
                  <a:srgbClr val="575757"/>
                </a:solidFill>
              </a:rPr>
              <a:t>Desafio</a:t>
            </a:r>
            <a:r>
              <a:rPr lang="en-US" sz="1400" dirty="0">
                <a:solidFill>
                  <a:srgbClr val="575757"/>
                </a:solidFill>
              </a:rPr>
              <a:t>: </a:t>
            </a:r>
            <a:r>
              <a:rPr lang="en-US" sz="1400" dirty="0" err="1" smtClean="0">
                <a:solidFill>
                  <a:srgbClr val="575757"/>
                </a:solidFill>
              </a:rPr>
              <a:t>Gerenciamento</a:t>
            </a:r>
            <a:r>
              <a:rPr lang="en-US" sz="1400" dirty="0" smtClean="0">
                <a:solidFill>
                  <a:srgbClr val="575757"/>
                </a:solidFill>
              </a:rPr>
              <a:t> da soda </a:t>
            </a:r>
            <a:r>
              <a:rPr lang="en-US" sz="1400" dirty="0" err="1" smtClean="0">
                <a:solidFill>
                  <a:srgbClr val="575757"/>
                </a:solidFill>
              </a:rPr>
              <a:t>caústica</a:t>
            </a:r>
            <a:r>
              <a:rPr lang="en-US" sz="1400" dirty="0" smtClean="0">
                <a:solidFill>
                  <a:srgbClr val="575757"/>
                </a:solidFill>
              </a:rPr>
              <a:t> era </a:t>
            </a:r>
            <a:r>
              <a:rPr lang="en-US" sz="1400" dirty="0" err="1" smtClean="0">
                <a:solidFill>
                  <a:srgbClr val="575757"/>
                </a:solidFill>
              </a:rPr>
              <a:t>altamente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custoso,além</a:t>
            </a:r>
            <a:r>
              <a:rPr lang="en-US" sz="1400" dirty="0" smtClean="0">
                <a:solidFill>
                  <a:srgbClr val="575757"/>
                </a:solidFill>
              </a:rPr>
              <a:t> de </a:t>
            </a:r>
            <a:r>
              <a:rPr lang="en-US" sz="1400" dirty="0" err="1" smtClean="0">
                <a:solidFill>
                  <a:srgbClr val="575757"/>
                </a:solidFill>
              </a:rPr>
              <a:t>gerar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resíduos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em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excesso</a:t>
            </a:r>
            <a:endParaRPr lang="en-US" sz="1400" dirty="0">
              <a:solidFill>
                <a:srgbClr val="575757"/>
              </a:solidFill>
            </a:endParaRPr>
          </a:p>
        </p:txBody>
      </p:sp>
      <p:sp>
        <p:nvSpPr>
          <p:cNvPr id="6" name="BcgText 2"/>
          <p:cNvSpPr txBox="1"/>
          <p:nvPr/>
        </p:nvSpPr>
        <p:spPr>
          <a:xfrm>
            <a:off x="4371600" y="4791444"/>
            <a:ext cx="3448800" cy="1166400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en-US" sz="1600" b="1" dirty="0" err="1"/>
              <a:t>Caso</a:t>
            </a:r>
            <a:r>
              <a:rPr lang="en-US" sz="1600" b="1" dirty="0"/>
              <a:t> 30: </a:t>
            </a:r>
            <a:r>
              <a:rPr lang="pt-BR" sz="1600" b="1" dirty="0"/>
              <a:t>Redução de toxicidade na linha de </a:t>
            </a:r>
            <a:r>
              <a:rPr lang="pt-BR" sz="1600" b="1" dirty="0" err="1" smtClean="0"/>
              <a:t>E-Coat</a:t>
            </a:r>
            <a:endParaRPr lang="pt-BR" sz="1600" b="1" dirty="0" smtClean="0"/>
          </a:p>
          <a:p>
            <a:pPr algn="ctr">
              <a:buNone/>
            </a:pPr>
            <a:r>
              <a:rPr lang="en-US" sz="1400" dirty="0" err="1">
                <a:solidFill>
                  <a:srgbClr val="575757"/>
                </a:solidFill>
              </a:rPr>
              <a:t>Desafio</a:t>
            </a:r>
            <a:r>
              <a:rPr lang="en-US" sz="1400" dirty="0">
                <a:solidFill>
                  <a:srgbClr val="575757"/>
                </a:solidFill>
              </a:rPr>
              <a:t>: </a:t>
            </a:r>
            <a:r>
              <a:rPr lang="en-US" sz="1400" dirty="0" err="1" smtClean="0">
                <a:solidFill>
                  <a:srgbClr val="575757"/>
                </a:solidFill>
              </a:rPr>
              <a:t>Pintura</a:t>
            </a:r>
            <a:r>
              <a:rPr lang="en-US" sz="1400" dirty="0" smtClean="0">
                <a:solidFill>
                  <a:srgbClr val="575757"/>
                </a:solidFill>
              </a:rPr>
              <a:t> das </a:t>
            </a:r>
            <a:r>
              <a:rPr lang="en-US" sz="1400" dirty="0" err="1" smtClean="0">
                <a:solidFill>
                  <a:srgbClr val="575757"/>
                </a:solidFill>
              </a:rPr>
              <a:t>peças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gerava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grandes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quantidades</a:t>
            </a:r>
            <a:r>
              <a:rPr lang="en-US" sz="1400" dirty="0" smtClean="0">
                <a:solidFill>
                  <a:srgbClr val="575757"/>
                </a:solidFill>
              </a:rPr>
              <a:t> de </a:t>
            </a:r>
            <a:r>
              <a:rPr lang="en-US" sz="1400" dirty="0" err="1" smtClean="0">
                <a:solidFill>
                  <a:srgbClr val="575757"/>
                </a:solidFill>
              </a:rPr>
              <a:t>chumbo</a:t>
            </a:r>
            <a:r>
              <a:rPr lang="en-US" sz="1400" dirty="0" smtClean="0">
                <a:solidFill>
                  <a:srgbClr val="575757"/>
                </a:solidFill>
              </a:rPr>
              <a:t> e </a:t>
            </a:r>
            <a:r>
              <a:rPr lang="en-US" sz="1400" dirty="0" err="1" smtClean="0">
                <a:solidFill>
                  <a:srgbClr val="575757"/>
                </a:solidFill>
              </a:rPr>
              <a:t>cromo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hexavalentes</a:t>
            </a:r>
            <a:endParaRPr lang="en-US" sz="1400" dirty="0">
              <a:solidFill>
                <a:srgbClr val="575757"/>
              </a:solidFill>
            </a:endParaRPr>
          </a:p>
          <a:p>
            <a:pPr algn="ctr">
              <a:buNone/>
            </a:pPr>
            <a:endParaRPr lang="pt-BR" sz="1600" b="1" dirty="0" smtClean="0"/>
          </a:p>
          <a:p>
            <a:pPr algn="ctr">
              <a:buNone/>
            </a:pPr>
            <a:endParaRPr lang="en-US" sz="1600" dirty="0">
              <a:solidFill>
                <a:srgbClr val="575757"/>
              </a:solidFill>
            </a:endParaRPr>
          </a:p>
        </p:txBody>
      </p:sp>
      <p:sp>
        <p:nvSpPr>
          <p:cNvPr id="7" name="BcgText 1"/>
          <p:cNvSpPr txBox="1"/>
          <p:nvPr/>
        </p:nvSpPr>
        <p:spPr>
          <a:xfrm>
            <a:off x="630000" y="4791444"/>
            <a:ext cx="3448800" cy="1166400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sz="1600" b="1" dirty="0" err="1"/>
              <a:t>Caso</a:t>
            </a:r>
            <a:r>
              <a:rPr lang="en-US" sz="1600" b="1" dirty="0"/>
              <a:t> 11: </a:t>
            </a:r>
            <a:r>
              <a:rPr lang="en-US" sz="1600" b="1" dirty="0" err="1"/>
              <a:t>Redução</a:t>
            </a:r>
            <a:r>
              <a:rPr lang="en-US" sz="1600" b="1" dirty="0"/>
              <a:t> do </a:t>
            </a:r>
            <a:r>
              <a:rPr lang="en-US" sz="1600" b="1" dirty="0" err="1" smtClean="0"/>
              <a:t>consumo</a:t>
            </a:r>
            <a:r>
              <a:rPr lang="en-US" sz="1600" b="1" dirty="0" smtClean="0"/>
              <a:t> </a:t>
            </a:r>
            <a:r>
              <a:rPr lang="en-US" sz="1600" b="1" dirty="0"/>
              <a:t>de </a:t>
            </a:r>
            <a:r>
              <a:rPr lang="en-US" sz="1600" b="1" dirty="0" err="1"/>
              <a:t>água</a:t>
            </a:r>
            <a:r>
              <a:rPr lang="en-US" sz="1600" b="1" dirty="0"/>
              <a:t> </a:t>
            </a:r>
            <a:r>
              <a:rPr lang="en-US" sz="1600" b="1" dirty="0" err="1"/>
              <a:t>na</a:t>
            </a:r>
            <a:r>
              <a:rPr lang="en-US" sz="1600" b="1" dirty="0"/>
              <a:t> </a:t>
            </a:r>
            <a:r>
              <a:rPr lang="en-US" sz="1600" b="1" dirty="0" err="1"/>
              <a:t>indústria</a:t>
            </a:r>
            <a:r>
              <a:rPr lang="en-US" sz="1600" b="1" dirty="0"/>
              <a:t> </a:t>
            </a:r>
            <a:r>
              <a:rPr lang="en-US" sz="1600" b="1" dirty="0" err="1"/>
              <a:t>metalúrgica</a:t>
            </a:r>
            <a:endParaRPr lang="en-US" sz="1600" b="1" dirty="0"/>
          </a:p>
          <a:p>
            <a:pPr algn="ctr">
              <a:buFont typeface="Arial" panose="020B0604020202020204" pitchFamily="34" charset="0"/>
              <a:buNone/>
            </a:pPr>
            <a:r>
              <a:rPr lang="en-US" sz="1400" dirty="0" err="1" smtClean="0">
                <a:solidFill>
                  <a:srgbClr val="575757"/>
                </a:solidFill>
              </a:rPr>
              <a:t>Desafio</a:t>
            </a:r>
            <a:r>
              <a:rPr lang="en-US" sz="1400" dirty="0" smtClean="0">
                <a:solidFill>
                  <a:srgbClr val="575757"/>
                </a:solidFill>
              </a:rPr>
              <a:t>: Alto </a:t>
            </a:r>
            <a:r>
              <a:rPr lang="en-US" sz="1400" dirty="0" err="1" smtClean="0">
                <a:solidFill>
                  <a:srgbClr val="575757"/>
                </a:solidFill>
              </a:rPr>
              <a:t>consumo</a:t>
            </a:r>
            <a:r>
              <a:rPr lang="en-US" sz="1400" dirty="0" smtClean="0">
                <a:solidFill>
                  <a:srgbClr val="575757"/>
                </a:solidFill>
              </a:rPr>
              <a:t> de </a:t>
            </a:r>
            <a:r>
              <a:rPr lang="en-US" sz="1400" dirty="0" err="1" smtClean="0">
                <a:solidFill>
                  <a:srgbClr val="575757"/>
                </a:solidFill>
              </a:rPr>
              <a:t>água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representava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elevados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custos</a:t>
            </a:r>
            <a:r>
              <a:rPr lang="en-US" sz="1400" dirty="0" smtClean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operacionais,além</a:t>
            </a:r>
            <a:r>
              <a:rPr lang="en-US" sz="1400" dirty="0" smtClean="0">
                <a:solidFill>
                  <a:srgbClr val="575757"/>
                </a:solidFill>
              </a:rPr>
              <a:t> de </a:t>
            </a:r>
            <a:r>
              <a:rPr lang="en-US" sz="1400" dirty="0" err="1" smtClean="0">
                <a:solidFill>
                  <a:srgbClr val="575757"/>
                </a:solidFill>
              </a:rPr>
              <a:t>grande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 smtClean="0">
                <a:solidFill>
                  <a:srgbClr val="575757"/>
                </a:solidFill>
              </a:rPr>
              <a:t>geração</a:t>
            </a:r>
            <a:r>
              <a:rPr lang="en-US" sz="1400" dirty="0" smtClean="0">
                <a:solidFill>
                  <a:srgbClr val="575757"/>
                </a:solidFill>
              </a:rPr>
              <a:t> de </a:t>
            </a:r>
            <a:r>
              <a:rPr lang="en-US" sz="1400" dirty="0" err="1" smtClean="0">
                <a:solidFill>
                  <a:srgbClr val="575757"/>
                </a:solidFill>
              </a:rPr>
              <a:t>resíduos</a:t>
            </a:r>
            <a:endParaRPr lang="en-US" sz="1400" dirty="0">
              <a:solidFill>
                <a:srgbClr val="575757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9838400" y="4164815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6094200" y="4164813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2353600" y="4164813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spect="1"/>
          </p:cNvSpPr>
          <p:nvPr/>
        </p:nvSpPr>
        <p:spPr>
          <a:xfrm>
            <a:off x="5171200" y="2302711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sp>
        <p:nvSpPr>
          <p:cNvPr id="12" name="Oval 11"/>
          <p:cNvSpPr>
            <a:spLocks noChangeAspect="1"/>
          </p:cNvSpPr>
          <p:nvPr/>
        </p:nvSpPr>
        <p:spPr>
          <a:xfrm>
            <a:off x="1430600" y="2302711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sp>
        <p:nvSpPr>
          <p:cNvPr id="13" name="Oval 12"/>
          <p:cNvSpPr>
            <a:spLocks noChangeAspect="1"/>
          </p:cNvSpPr>
          <p:nvPr/>
        </p:nvSpPr>
        <p:spPr>
          <a:xfrm>
            <a:off x="8915400" y="2302711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grpSp>
        <p:nvGrpSpPr>
          <p:cNvPr id="46" name="bcgIcons_Droplets">
            <a:extLst>
              <a:ext uri="{FF2B5EF4-FFF2-40B4-BE49-F238E27FC236}">
                <a16:creationId xmlns:a16="http://schemas.microsoft.com/office/drawing/2014/main" xmlns="" id="{B3C30493-A23D-42BE-8F61-EAA64F6E7D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31402" y="2413644"/>
            <a:ext cx="1644396" cy="1645920"/>
            <a:chOff x="1682" y="0"/>
            <a:chExt cx="4316" cy="4320"/>
          </a:xfrm>
        </p:grpSpPr>
        <p:sp>
          <p:nvSpPr>
            <p:cNvPr id="52" name="AutoShape 3">
              <a:extLst>
                <a:ext uri="{FF2B5EF4-FFF2-40B4-BE49-F238E27FC236}">
                  <a16:creationId xmlns:a16="http://schemas.microsoft.com/office/drawing/2014/main" xmlns="" id="{71868E3D-5553-465E-B242-7AD2D68F69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">
              <a:extLst>
                <a:ext uri="{FF2B5EF4-FFF2-40B4-BE49-F238E27FC236}">
                  <a16:creationId xmlns:a16="http://schemas.microsoft.com/office/drawing/2014/main" xmlns="" id="{8F3EFC38-A8A1-435D-A1AB-6D672249CB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0" y="778"/>
              <a:ext cx="1641" cy="2768"/>
            </a:xfrm>
            <a:custGeom>
              <a:avLst/>
              <a:gdLst>
                <a:gd name="T0" fmla="*/ 436 w 876"/>
                <a:gd name="T1" fmla="*/ 1476 h 1476"/>
                <a:gd name="T2" fmla="*/ 0 w 876"/>
                <a:gd name="T3" fmla="*/ 1020 h 1476"/>
                <a:gd name="T4" fmla="*/ 215 w 876"/>
                <a:gd name="T5" fmla="*/ 413 h 1476"/>
                <a:gd name="T6" fmla="*/ 417 w 876"/>
                <a:gd name="T7" fmla="*/ 12 h 1476"/>
                <a:gd name="T8" fmla="*/ 436 w 876"/>
                <a:gd name="T9" fmla="*/ 0 h 1476"/>
                <a:gd name="T10" fmla="*/ 436 w 876"/>
                <a:gd name="T11" fmla="*/ 0 h 1476"/>
                <a:gd name="T12" fmla="*/ 456 w 876"/>
                <a:gd name="T13" fmla="*/ 12 h 1476"/>
                <a:gd name="T14" fmla="*/ 659 w 876"/>
                <a:gd name="T15" fmla="*/ 413 h 1476"/>
                <a:gd name="T16" fmla="*/ 876 w 876"/>
                <a:gd name="T17" fmla="*/ 1020 h 1476"/>
                <a:gd name="T18" fmla="*/ 436 w 876"/>
                <a:gd name="T19" fmla="*/ 1476 h 1476"/>
                <a:gd name="T20" fmla="*/ 436 w 876"/>
                <a:gd name="T21" fmla="*/ 69 h 1476"/>
                <a:gd name="T22" fmla="*/ 255 w 876"/>
                <a:gd name="T23" fmla="*/ 432 h 1476"/>
                <a:gd name="T24" fmla="*/ 44 w 876"/>
                <a:gd name="T25" fmla="*/ 1020 h 1476"/>
                <a:gd name="T26" fmla="*/ 436 w 876"/>
                <a:gd name="T27" fmla="*/ 1432 h 1476"/>
                <a:gd name="T28" fmla="*/ 832 w 876"/>
                <a:gd name="T29" fmla="*/ 1020 h 1476"/>
                <a:gd name="T30" fmla="*/ 619 w 876"/>
                <a:gd name="T31" fmla="*/ 432 h 1476"/>
                <a:gd name="T32" fmla="*/ 436 w 876"/>
                <a:gd name="T33" fmla="*/ 69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1476">
                  <a:moveTo>
                    <a:pt x="436" y="1476"/>
                  </a:moveTo>
                  <a:cubicBezTo>
                    <a:pt x="195" y="1476"/>
                    <a:pt x="0" y="1272"/>
                    <a:pt x="0" y="1020"/>
                  </a:cubicBezTo>
                  <a:cubicBezTo>
                    <a:pt x="0" y="976"/>
                    <a:pt x="21" y="827"/>
                    <a:pt x="215" y="413"/>
                  </a:cubicBezTo>
                  <a:cubicBezTo>
                    <a:pt x="273" y="290"/>
                    <a:pt x="341" y="155"/>
                    <a:pt x="417" y="12"/>
                  </a:cubicBezTo>
                  <a:cubicBezTo>
                    <a:pt x="421" y="5"/>
                    <a:pt x="428" y="0"/>
                    <a:pt x="436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44" y="0"/>
                    <a:pt x="452" y="4"/>
                    <a:pt x="456" y="12"/>
                  </a:cubicBezTo>
                  <a:cubicBezTo>
                    <a:pt x="532" y="155"/>
                    <a:pt x="601" y="290"/>
                    <a:pt x="659" y="413"/>
                  </a:cubicBezTo>
                  <a:cubicBezTo>
                    <a:pt x="855" y="827"/>
                    <a:pt x="876" y="976"/>
                    <a:pt x="876" y="1020"/>
                  </a:cubicBezTo>
                  <a:cubicBezTo>
                    <a:pt x="876" y="1272"/>
                    <a:pt x="679" y="1476"/>
                    <a:pt x="436" y="1476"/>
                  </a:cubicBezTo>
                  <a:close/>
                  <a:moveTo>
                    <a:pt x="436" y="69"/>
                  </a:moveTo>
                  <a:cubicBezTo>
                    <a:pt x="369" y="198"/>
                    <a:pt x="308" y="320"/>
                    <a:pt x="255" y="432"/>
                  </a:cubicBezTo>
                  <a:cubicBezTo>
                    <a:pt x="54" y="860"/>
                    <a:pt x="44" y="997"/>
                    <a:pt x="44" y="1020"/>
                  </a:cubicBezTo>
                  <a:cubicBezTo>
                    <a:pt x="44" y="1247"/>
                    <a:pt x="220" y="1432"/>
                    <a:pt x="436" y="1432"/>
                  </a:cubicBezTo>
                  <a:cubicBezTo>
                    <a:pt x="654" y="1432"/>
                    <a:pt x="832" y="1247"/>
                    <a:pt x="832" y="1020"/>
                  </a:cubicBezTo>
                  <a:cubicBezTo>
                    <a:pt x="832" y="997"/>
                    <a:pt x="822" y="860"/>
                    <a:pt x="619" y="432"/>
                  </a:cubicBezTo>
                  <a:cubicBezTo>
                    <a:pt x="566" y="320"/>
                    <a:pt x="505" y="198"/>
                    <a:pt x="436" y="69"/>
                  </a:cubicBezTo>
                  <a:close/>
                </a:path>
              </a:pathLst>
            </a:custGeom>
            <a:solidFill>
              <a:srgbClr val="E71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F0D6D188-0E79-4905-8B64-A410946B76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5" y="1179"/>
              <a:ext cx="3290" cy="2080"/>
            </a:xfrm>
            <a:custGeom>
              <a:avLst/>
              <a:gdLst>
                <a:gd name="T0" fmla="*/ 1756 w 1756"/>
                <a:gd name="T1" fmla="*/ 722 h 1109"/>
                <a:gd name="T2" fmla="*/ 1440 w 1756"/>
                <a:gd name="T3" fmla="*/ 1048 h 1109"/>
                <a:gd name="T4" fmla="*/ 1313 w 1756"/>
                <a:gd name="T5" fmla="*/ 1020 h 1109"/>
                <a:gd name="T6" fmla="*/ 1360 w 1756"/>
                <a:gd name="T7" fmla="*/ 806 h 1109"/>
                <a:gd name="T8" fmla="*/ 1234 w 1756"/>
                <a:gd name="T9" fmla="*/ 392 h 1109"/>
                <a:gd name="T10" fmla="*/ 1279 w 1756"/>
                <a:gd name="T11" fmla="*/ 293 h 1109"/>
                <a:gd name="T12" fmla="*/ 1421 w 1756"/>
                <a:gd name="T13" fmla="*/ 11 h 1109"/>
                <a:gd name="T14" fmla="*/ 1440 w 1756"/>
                <a:gd name="T15" fmla="*/ 0 h 1109"/>
                <a:gd name="T16" fmla="*/ 1440 w 1756"/>
                <a:gd name="T17" fmla="*/ 0 h 1109"/>
                <a:gd name="T18" fmla="*/ 1460 w 1756"/>
                <a:gd name="T19" fmla="*/ 11 h 1109"/>
                <a:gd name="T20" fmla="*/ 1603 w 1756"/>
                <a:gd name="T21" fmla="*/ 293 h 1109"/>
                <a:gd name="T22" fmla="*/ 1756 w 1756"/>
                <a:gd name="T23" fmla="*/ 722 h 1109"/>
                <a:gd name="T24" fmla="*/ 1018 w 1756"/>
                <a:gd name="T25" fmla="*/ 1107 h 1109"/>
                <a:gd name="T26" fmla="*/ 1197 w 1756"/>
                <a:gd name="T27" fmla="*/ 821 h 1109"/>
                <a:gd name="T28" fmla="*/ 1175 w 1756"/>
                <a:gd name="T29" fmla="*/ 799 h 1109"/>
                <a:gd name="T30" fmla="*/ 1153 w 1756"/>
                <a:gd name="T31" fmla="*/ 821 h 1109"/>
                <a:gd name="T32" fmla="*/ 999 w 1756"/>
                <a:gd name="T33" fmla="*/ 1067 h 1109"/>
                <a:gd name="T34" fmla="*/ 989 w 1756"/>
                <a:gd name="T35" fmla="*/ 1097 h 1109"/>
                <a:gd name="T36" fmla="*/ 1008 w 1756"/>
                <a:gd name="T37" fmla="*/ 1109 h 1109"/>
                <a:gd name="T38" fmla="*/ 1018 w 1756"/>
                <a:gd name="T39" fmla="*/ 1107 h 1109"/>
                <a:gd name="T40" fmla="*/ 396 w 1756"/>
                <a:gd name="T41" fmla="*/ 806 h 1109"/>
                <a:gd name="T42" fmla="*/ 521 w 1756"/>
                <a:gd name="T43" fmla="*/ 392 h 1109"/>
                <a:gd name="T44" fmla="*/ 475 w 1756"/>
                <a:gd name="T45" fmla="*/ 293 h 1109"/>
                <a:gd name="T46" fmla="*/ 333 w 1756"/>
                <a:gd name="T47" fmla="*/ 11 h 1109"/>
                <a:gd name="T48" fmla="*/ 313 w 1756"/>
                <a:gd name="T49" fmla="*/ 0 h 1109"/>
                <a:gd name="T50" fmla="*/ 313 w 1756"/>
                <a:gd name="T51" fmla="*/ 0 h 1109"/>
                <a:gd name="T52" fmla="*/ 294 w 1756"/>
                <a:gd name="T53" fmla="*/ 11 h 1109"/>
                <a:gd name="T54" fmla="*/ 152 w 1756"/>
                <a:gd name="T55" fmla="*/ 293 h 1109"/>
                <a:gd name="T56" fmla="*/ 0 w 1756"/>
                <a:gd name="T57" fmla="*/ 722 h 1109"/>
                <a:gd name="T58" fmla="*/ 313 w 1756"/>
                <a:gd name="T59" fmla="*/ 1048 h 1109"/>
                <a:gd name="T60" fmla="*/ 442 w 1756"/>
                <a:gd name="T61" fmla="*/ 1020 h 1109"/>
                <a:gd name="T62" fmla="*/ 396 w 1756"/>
                <a:gd name="T63" fmla="*/ 806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56" h="1109">
                  <a:moveTo>
                    <a:pt x="1756" y="722"/>
                  </a:moveTo>
                  <a:cubicBezTo>
                    <a:pt x="1756" y="902"/>
                    <a:pt x="1614" y="1048"/>
                    <a:pt x="1440" y="1048"/>
                  </a:cubicBezTo>
                  <a:cubicBezTo>
                    <a:pt x="1395" y="1048"/>
                    <a:pt x="1352" y="1038"/>
                    <a:pt x="1313" y="1020"/>
                  </a:cubicBezTo>
                  <a:cubicBezTo>
                    <a:pt x="1343" y="956"/>
                    <a:pt x="1360" y="883"/>
                    <a:pt x="1360" y="806"/>
                  </a:cubicBezTo>
                  <a:cubicBezTo>
                    <a:pt x="1360" y="768"/>
                    <a:pt x="1346" y="658"/>
                    <a:pt x="1234" y="392"/>
                  </a:cubicBezTo>
                  <a:cubicBezTo>
                    <a:pt x="1248" y="362"/>
                    <a:pt x="1263" y="329"/>
                    <a:pt x="1279" y="293"/>
                  </a:cubicBezTo>
                  <a:cubicBezTo>
                    <a:pt x="1320" y="207"/>
                    <a:pt x="1368" y="112"/>
                    <a:pt x="1421" y="11"/>
                  </a:cubicBezTo>
                  <a:cubicBezTo>
                    <a:pt x="1425" y="4"/>
                    <a:pt x="1432" y="0"/>
                    <a:pt x="1440" y="0"/>
                  </a:cubicBezTo>
                  <a:cubicBezTo>
                    <a:pt x="1440" y="0"/>
                    <a:pt x="1440" y="0"/>
                    <a:pt x="1440" y="0"/>
                  </a:cubicBezTo>
                  <a:cubicBezTo>
                    <a:pt x="1448" y="0"/>
                    <a:pt x="1456" y="4"/>
                    <a:pt x="1460" y="11"/>
                  </a:cubicBezTo>
                  <a:cubicBezTo>
                    <a:pt x="1513" y="112"/>
                    <a:pt x="1562" y="207"/>
                    <a:pt x="1603" y="293"/>
                  </a:cubicBezTo>
                  <a:cubicBezTo>
                    <a:pt x="1741" y="585"/>
                    <a:pt x="1756" y="690"/>
                    <a:pt x="1756" y="722"/>
                  </a:cubicBezTo>
                  <a:close/>
                  <a:moveTo>
                    <a:pt x="1018" y="1107"/>
                  </a:moveTo>
                  <a:cubicBezTo>
                    <a:pt x="1128" y="1053"/>
                    <a:pt x="1197" y="943"/>
                    <a:pt x="1197" y="821"/>
                  </a:cubicBezTo>
                  <a:cubicBezTo>
                    <a:pt x="1197" y="809"/>
                    <a:pt x="1187" y="799"/>
                    <a:pt x="1175" y="799"/>
                  </a:cubicBezTo>
                  <a:cubicBezTo>
                    <a:pt x="1163" y="799"/>
                    <a:pt x="1153" y="809"/>
                    <a:pt x="1153" y="821"/>
                  </a:cubicBezTo>
                  <a:cubicBezTo>
                    <a:pt x="1153" y="926"/>
                    <a:pt x="1094" y="1021"/>
                    <a:pt x="999" y="1067"/>
                  </a:cubicBezTo>
                  <a:cubicBezTo>
                    <a:pt x="988" y="1073"/>
                    <a:pt x="983" y="1086"/>
                    <a:pt x="989" y="1097"/>
                  </a:cubicBezTo>
                  <a:cubicBezTo>
                    <a:pt x="992" y="1105"/>
                    <a:pt x="1000" y="1109"/>
                    <a:pt x="1008" y="1109"/>
                  </a:cubicBezTo>
                  <a:cubicBezTo>
                    <a:pt x="1012" y="1109"/>
                    <a:pt x="1015" y="1109"/>
                    <a:pt x="1018" y="1107"/>
                  </a:cubicBezTo>
                  <a:close/>
                  <a:moveTo>
                    <a:pt x="396" y="806"/>
                  </a:moveTo>
                  <a:cubicBezTo>
                    <a:pt x="396" y="768"/>
                    <a:pt x="410" y="657"/>
                    <a:pt x="521" y="392"/>
                  </a:cubicBezTo>
                  <a:cubicBezTo>
                    <a:pt x="507" y="362"/>
                    <a:pt x="492" y="329"/>
                    <a:pt x="475" y="293"/>
                  </a:cubicBezTo>
                  <a:cubicBezTo>
                    <a:pt x="434" y="207"/>
                    <a:pt x="386" y="112"/>
                    <a:pt x="333" y="11"/>
                  </a:cubicBezTo>
                  <a:cubicBezTo>
                    <a:pt x="329" y="4"/>
                    <a:pt x="321" y="0"/>
                    <a:pt x="313" y="0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305" y="0"/>
                    <a:pt x="298" y="4"/>
                    <a:pt x="294" y="11"/>
                  </a:cubicBezTo>
                  <a:cubicBezTo>
                    <a:pt x="241" y="112"/>
                    <a:pt x="193" y="207"/>
                    <a:pt x="152" y="293"/>
                  </a:cubicBezTo>
                  <a:cubicBezTo>
                    <a:pt x="15" y="585"/>
                    <a:pt x="0" y="690"/>
                    <a:pt x="0" y="722"/>
                  </a:cubicBezTo>
                  <a:cubicBezTo>
                    <a:pt x="0" y="902"/>
                    <a:pt x="141" y="1048"/>
                    <a:pt x="313" y="1048"/>
                  </a:cubicBezTo>
                  <a:cubicBezTo>
                    <a:pt x="359" y="1048"/>
                    <a:pt x="402" y="1038"/>
                    <a:pt x="442" y="1020"/>
                  </a:cubicBezTo>
                  <a:cubicBezTo>
                    <a:pt x="412" y="955"/>
                    <a:pt x="396" y="883"/>
                    <a:pt x="396" y="806"/>
                  </a:cubicBezTo>
                  <a:close/>
                </a:path>
              </a:pathLst>
            </a:custGeom>
            <a:solidFill>
              <a:srgbClr val="E71C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5" name="Group 54"/>
          <p:cNvGrpSpPr>
            <a:grpSpLocks noChangeAspect="1"/>
          </p:cNvGrpSpPr>
          <p:nvPr/>
        </p:nvGrpSpPr>
        <p:grpSpPr>
          <a:xfrm>
            <a:off x="5358879" y="2340851"/>
            <a:ext cx="1644650" cy="1644650"/>
            <a:chOff x="5277690" y="2607469"/>
            <a:chExt cx="1644650" cy="1644650"/>
          </a:xfrm>
        </p:grpSpPr>
        <p:sp>
          <p:nvSpPr>
            <p:cNvPr id="56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7690" y="2607469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57" name="Group 56"/>
            <p:cNvGrpSpPr/>
            <p:nvPr/>
          </p:nvGrpSpPr>
          <p:grpSpPr>
            <a:xfrm>
              <a:off x="5557929" y="2884488"/>
              <a:ext cx="1084172" cy="1090612"/>
              <a:chOff x="5557929" y="2884488"/>
              <a:chExt cx="1084172" cy="1090612"/>
            </a:xfrm>
          </p:grpSpPr>
          <p:sp>
            <p:nvSpPr>
              <p:cNvPr id="58" name="Freeform 57"/>
              <p:cNvSpPr>
                <a:spLocks/>
              </p:cNvSpPr>
              <p:nvPr/>
            </p:nvSpPr>
            <p:spPr bwMode="auto">
              <a:xfrm>
                <a:off x="5557929" y="2884488"/>
                <a:ext cx="742859" cy="878281"/>
              </a:xfrm>
              <a:custGeom>
                <a:avLst/>
                <a:gdLst>
                  <a:gd name="connsiteX0" fmla="*/ 168565 w 742859"/>
                  <a:gd name="connsiteY0" fmla="*/ 703263 h 878281"/>
                  <a:gd name="connsiteX1" fmla="*/ 111034 w 742859"/>
                  <a:gd name="connsiteY1" fmla="*/ 842963 h 878281"/>
                  <a:gd name="connsiteX2" fmla="*/ 168565 w 742859"/>
                  <a:gd name="connsiteY2" fmla="*/ 703263 h 878281"/>
                  <a:gd name="connsiteX3" fmla="*/ 32807 w 742859"/>
                  <a:gd name="connsiteY3" fmla="*/ 490538 h 878281"/>
                  <a:gd name="connsiteX4" fmla="*/ 170532 w 742859"/>
                  <a:gd name="connsiteY4" fmla="*/ 634929 h 878281"/>
                  <a:gd name="connsiteX5" fmla="*/ 192653 w 742859"/>
                  <a:gd name="connsiteY5" fmla="*/ 688540 h 878281"/>
                  <a:gd name="connsiteX6" fmla="*/ 212634 w 742859"/>
                  <a:gd name="connsiteY6" fmla="*/ 775031 h 878281"/>
                  <a:gd name="connsiteX7" fmla="*/ 147697 w 742859"/>
                  <a:gd name="connsiteY7" fmla="*/ 869386 h 878281"/>
                  <a:gd name="connsiteX8" fmla="*/ 37802 w 742859"/>
                  <a:gd name="connsiteY8" fmla="*/ 850801 h 878281"/>
                  <a:gd name="connsiteX9" fmla="*/ 4977 w 742859"/>
                  <a:gd name="connsiteY9" fmla="*/ 729998 h 878281"/>
                  <a:gd name="connsiteX10" fmla="*/ 31380 w 742859"/>
                  <a:gd name="connsiteY10" fmla="*/ 665666 h 878281"/>
                  <a:gd name="connsiteX11" fmla="*/ 37089 w 742859"/>
                  <a:gd name="connsiteY11" fmla="*/ 501260 h 878281"/>
                  <a:gd name="connsiteX12" fmla="*/ 32807 w 742859"/>
                  <a:gd name="connsiteY12" fmla="*/ 490538 h 878281"/>
                  <a:gd name="connsiteX13" fmla="*/ 424118 w 742859"/>
                  <a:gd name="connsiteY13" fmla="*/ 0 h 878281"/>
                  <a:gd name="connsiteX14" fmla="*/ 466902 w 742859"/>
                  <a:gd name="connsiteY14" fmla="*/ 18574 h 878281"/>
                  <a:gd name="connsiteX15" fmla="*/ 742859 w 742859"/>
                  <a:gd name="connsiteY15" fmla="*/ 306467 h 878281"/>
                  <a:gd name="connsiteX16" fmla="*/ 742146 w 742859"/>
                  <a:gd name="connsiteY16" fmla="*/ 307182 h 878281"/>
                  <a:gd name="connsiteX17" fmla="*/ 304322 w 742859"/>
                  <a:gd name="connsiteY17" fmla="*/ 727949 h 878281"/>
                  <a:gd name="connsiteX18" fmla="*/ 304322 w 742859"/>
                  <a:gd name="connsiteY18" fmla="*/ 728663 h 878281"/>
                  <a:gd name="connsiteX19" fmla="*/ 160995 w 742859"/>
                  <a:gd name="connsiteY19" fmla="*/ 579359 h 878281"/>
                  <a:gd name="connsiteX20" fmla="*/ 28364 w 742859"/>
                  <a:gd name="connsiteY20" fmla="*/ 440770 h 878281"/>
                  <a:gd name="connsiteX21" fmla="*/ 24086 w 742859"/>
                  <a:gd name="connsiteY21" fmla="*/ 362189 h 878281"/>
                  <a:gd name="connsiteX22" fmla="*/ 30504 w 742859"/>
                  <a:gd name="connsiteY22" fmla="*/ 354330 h 878281"/>
                  <a:gd name="connsiteX23" fmla="*/ 83271 w 742859"/>
                  <a:gd name="connsiteY23" fmla="*/ 303610 h 878281"/>
                  <a:gd name="connsiteX24" fmla="*/ 188805 w 742859"/>
                  <a:gd name="connsiteY24" fmla="*/ 356474 h 878281"/>
                  <a:gd name="connsiteX25" fmla="*/ 192370 w 742859"/>
                  <a:gd name="connsiteY25" fmla="*/ 357902 h 878281"/>
                  <a:gd name="connsiteX26" fmla="*/ 198788 w 742859"/>
                  <a:gd name="connsiteY26" fmla="*/ 346472 h 878281"/>
                  <a:gd name="connsiteX27" fmla="*/ 143168 w 742859"/>
                  <a:gd name="connsiteY27" fmla="*/ 245745 h 878281"/>
                  <a:gd name="connsiteX28" fmla="*/ 302896 w 742859"/>
                  <a:gd name="connsiteY28" fmla="*/ 92869 h 878281"/>
                  <a:gd name="connsiteX29" fmla="*/ 362081 w 742859"/>
                  <a:gd name="connsiteY29" fmla="*/ 116443 h 878281"/>
                  <a:gd name="connsiteX30" fmla="*/ 364933 w 742859"/>
                  <a:gd name="connsiteY30" fmla="*/ 116443 h 878281"/>
                  <a:gd name="connsiteX31" fmla="*/ 372063 w 742859"/>
                  <a:gd name="connsiteY31" fmla="*/ 106442 h 878281"/>
                  <a:gd name="connsiteX32" fmla="*/ 349958 w 742859"/>
                  <a:gd name="connsiteY32" fmla="*/ 47149 h 878281"/>
                  <a:gd name="connsiteX33" fmla="*/ 382046 w 742859"/>
                  <a:gd name="connsiteY33" fmla="*/ 16431 h 878281"/>
                  <a:gd name="connsiteX34" fmla="*/ 424118 w 742859"/>
                  <a:gd name="connsiteY34" fmla="*/ 0 h 878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742859" h="878281">
                    <a:moveTo>
                      <a:pt x="168565" y="703263"/>
                    </a:moveTo>
                    <a:cubicBezTo>
                      <a:pt x="173598" y="762312"/>
                      <a:pt x="155620" y="804798"/>
                      <a:pt x="111034" y="842963"/>
                    </a:cubicBezTo>
                    <a:cubicBezTo>
                      <a:pt x="177194" y="816319"/>
                      <a:pt x="195172" y="772393"/>
                      <a:pt x="168565" y="703263"/>
                    </a:cubicBezTo>
                    <a:close/>
                    <a:moveTo>
                      <a:pt x="32807" y="490538"/>
                    </a:moveTo>
                    <a:cubicBezTo>
                      <a:pt x="32807" y="490538"/>
                      <a:pt x="32807" y="490538"/>
                      <a:pt x="170532" y="634929"/>
                    </a:cubicBezTo>
                    <a:cubicBezTo>
                      <a:pt x="175527" y="652799"/>
                      <a:pt x="182663" y="670669"/>
                      <a:pt x="192653" y="688540"/>
                    </a:cubicBezTo>
                    <a:cubicBezTo>
                      <a:pt x="206212" y="714273"/>
                      <a:pt x="212634" y="746439"/>
                      <a:pt x="212634" y="775031"/>
                    </a:cubicBezTo>
                    <a:cubicBezTo>
                      <a:pt x="212634" y="819349"/>
                      <a:pt x="189085" y="852230"/>
                      <a:pt x="147697" y="869386"/>
                    </a:cubicBezTo>
                    <a:cubicBezTo>
                      <a:pt x="107735" y="885826"/>
                      <a:pt x="70628" y="879393"/>
                      <a:pt x="37802" y="850801"/>
                    </a:cubicBezTo>
                    <a:cubicBezTo>
                      <a:pt x="695" y="818634"/>
                      <a:pt x="-6441" y="775746"/>
                      <a:pt x="4977" y="729998"/>
                    </a:cubicBezTo>
                    <a:cubicBezTo>
                      <a:pt x="10686" y="707839"/>
                      <a:pt x="21390" y="686395"/>
                      <a:pt x="31380" y="665666"/>
                    </a:cubicBezTo>
                    <a:cubicBezTo>
                      <a:pt x="59210" y="611340"/>
                      <a:pt x="59210" y="557015"/>
                      <a:pt x="37089" y="501260"/>
                    </a:cubicBezTo>
                    <a:cubicBezTo>
                      <a:pt x="35662" y="497686"/>
                      <a:pt x="34234" y="494112"/>
                      <a:pt x="32807" y="490538"/>
                    </a:cubicBezTo>
                    <a:close/>
                    <a:moveTo>
                      <a:pt x="424118" y="0"/>
                    </a:moveTo>
                    <a:cubicBezTo>
                      <a:pt x="439092" y="0"/>
                      <a:pt x="455493" y="5715"/>
                      <a:pt x="466902" y="18574"/>
                    </a:cubicBezTo>
                    <a:cubicBezTo>
                      <a:pt x="466902" y="18574"/>
                      <a:pt x="466902" y="18574"/>
                      <a:pt x="742859" y="306467"/>
                    </a:cubicBezTo>
                    <a:cubicBezTo>
                      <a:pt x="742859" y="306467"/>
                      <a:pt x="742146" y="306467"/>
                      <a:pt x="742146" y="307182"/>
                    </a:cubicBezTo>
                    <a:cubicBezTo>
                      <a:pt x="742146" y="307182"/>
                      <a:pt x="742146" y="307182"/>
                      <a:pt x="304322" y="727949"/>
                    </a:cubicBezTo>
                    <a:cubicBezTo>
                      <a:pt x="304322" y="728663"/>
                      <a:pt x="304322" y="728663"/>
                      <a:pt x="304322" y="728663"/>
                    </a:cubicBezTo>
                    <a:cubicBezTo>
                      <a:pt x="304322" y="728663"/>
                      <a:pt x="304322" y="728663"/>
                      <a:pt x="160995" y="579359"/>
                    </a:cubicBezTo>
                    <a:cubicBezTo>
                      <a:pt x="160995" y="579359"/>
                      <a:pt x="160995" y="579359"/>
                      <a:pt x="28364" y="440770"/>
                    </a:cubicBezTo>
                    <a:cubicBezTo>
                      <a:pt x="7685" y="418624"/>
                      <a:pt x="6259" y="385049"/>
                      <a:pt x="24086" y="362189"/>
                    </a:cubicBezTo>
                    <a:cubicBezTo>
                      <a:pt x="25512" y="359331"/>
                      <a:pt x="27651" y="356474"/>
                      <a:pt x="30504" y="354330"/>
                    </a:cubicBezTo>
                    <a:cubicBezTo>
                      <a:pt x="30504" y="354330"/>
                      <a:pt x="30504" y="354330"/>
                      <a:pt x="83271" y="303610"/>
                    </a:cubicBezTo>
                    <a:cubicBezTo>
                      <a:pt x="83271" y="303610"/>
                      <a:pt x="83271" y="303610"/>
                      <a:pt x="188805" y="356474"/>
                    </a:cubicBezTo>
                    <a:cubicBezTo>
                      <a:pt x="190231" y="357188"/>
                      <a:pt x="190944" y="357902"/>
                      <a:pt x="192370" y="357902"/>
                    </a:cubicBezTo>
                    <a:cubicBezTo>
                      <a:pt x="197362" y="357902"/>
                      <a:pt x="201640" y="351473"/>
                      <a:pt x="198788" y="346472"/>
                    </a:cubicBezTo>
                    <a:cubicBezTo>
                      <a:pt x="198788" y="346472"/>
                      <a:pt x="198788" y="346472"/>
                      <a:pt x="143168" y="245745"/>
                    </a:cubicBezTo>
                    <a:cubicBezTo>
                      <a:pt x="143168" y="245745"/>
                      <a:pt x="143168" y="245745"/>
                      <a:pt x="302896" y="92869"/>
                    </a:cubicBezTo>
                    <a:cubicBezTo>
                      <a:pt x="302896" y="92869"/>
                      <a:pt x="302896" y="92869"/>
                      <a:pt x="362081" y="116443"/>
                    </a:cubicBezTo>
                    <a:cubicBezTo>
                      <a:pt x="362794" y="116443"/>
                      <a:pt x="364220" y="116443"/>
                      <a:pt x="364933" y="116443"/>
                    </a:cubicBezTo>
                    <a:cubicBezTo>
                      <a:pt x="369924" y="116443"/>
                      <a:pt x="373490" y="111443"/>
                      <a:pt x="372063" y="106442"/>
                    </a:cubicBezTo>
                    <a:cubicBezTo>
                      <a:pt x="372063" y="106442"/>
                      <a:pt x="372063" y="106442"/>
                      <a:pt x="349958" y="47149"/>
                    </a:cubicBezTo>
                    <a:cubicBezTo>
                      <a:pt x="349958" y="47149"/>
                      <a:pt x="349958" y="47149"/>
                      <a:pt x="382046" y="16431"/>
                    </a:cubicBezTo>
                    <a:cubicBezTo>
                      <a:pt x="393456" y="5001"/>
                      <a:pt x="408430" y="0"/>
                      <a:pt x="424118" y="0"/>
                    </a:cubicBezTo>
                    <a:close/>
                  </a:path>
                </a:pathLst>
              </a:custGeom>
              <a:solidFill>
                <a:srgbClr val="E71C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8"/>
              <p:cNvSpPr>
                <a:spLocks noEditPoints="1"/>
              </p:cNvSpPr>
              <p:nvPr/>
            </p:nvSpPr>
            <p:spPr bwMode="auto">
              <a:xfrm>
                <a:off x="5888038" y="3216275"/>
                <a:ext cx="754063" cy="758825"/>
              </a:xfrm>
              <a:custGeom>
                <a:avLst/>
                <a:gdLst>
                  <a:gd name="T0" fmla="*/ 1048 w 1056"/>
                  <a:gd name="T1" fmla="*/ 894 h 1063"/>
                  <a:gd name="T2" fmla="*/ 732 w 1056"/>
                  <a:gd name="T3" fmla="*/ 580 h 1063"/>
                  <a:gd name="T4" fmla="*/ 632 w 1056"/>
                  <a:gd name="T5" fmla="*/ 457 h 1063"/>
                  <a:gd name="T6" fmla="*/ 760 w 1056"/>
                  <a:gd name="T7" fmla="*/ 170 h 1063"/>
                  <a:gd name="T8" fmla="*/ 760 w 1056"/>
                  <a:gd name="T9" fmla="*/ 151 h 1063"/>
                  <a:gd name="T10" fmla="*/ 620 w 1056"/>
                  <a:gd name="T11" fmla="*/ 4 h 1063"/>
                  <a:gd name="T12" fmla="*/ 610 w 1056"/>
                  <a:gd name="T13" fmla="*/ 0 h 1063"/>
                  <a:gd name="T14" fmla="*/ 606 w 1056"/>
                  <a:gd name="T15" fmla="*/ 0 h 1063"/>
                  <a:gd name="T16" fmla="*/ 601 w 1056"/>
                  <a:gd name="T17" fmla="*/ 3 h 1063"/>
                  <a:gd name="T18" fmla="*/ 5 w 1056"/>
                  <a:gd name="T19" fmla="*/ 575 h 1063"/>
                  <a:gd name="T20" fmla="*/ 2 w 1056"/>
                  <a:gd name="T21" fmla="*/ 581 h 1063"/>
                  <a:gd name="T22" fmla="*/ 5 w 1056"/>
                  <a:gd name="T23" fmla="*/ 595 h 1063"/>
                  <a:gd name="T24" fmla="*/ 145 w 1056"/>
                  <a:gd name="T25" fmla="*/ 742 h 1063"/>
                  <a:gd name="T26" fmla="*/ 155 w 1056"/>
                  <a:gd name="T27" fmla="*/ 746 h 1063"/>
                  <a:gd name="T28" fmla="*/ 164 w 1056"/>
                  <a:gd name="T29" fmla="*/ 742 h 1063"/>
                  <a:gd name="T30" fmla="*/ 419 w 1056"/>
                  <a:gd name="T31" fmla="*/ 623 h 1063"/>
                  <a:gd name="T32" fmla="*/ 456 w 1056"/>
                  <a:gd name="T33" fmla="*/ 626 h 1063"/>
                  <a:gd name="T34" fmla="*/ 575 w 1056"/>
                  <a:gd name="T35" fmla="*/ 731 h 1063"/>
                  <a:gd name="T36" fmla="*/ 875 w 1056"/>
                  <a:gd name="T37" fmla="*/ 1060 h 1063"/>
                  <a:gd name="T38" fmla="*/ 906 w 1056"/>
                  <a:gd name="T39" fmla="*/ 1063 h 1063"/>
                  <a:gd name="T40" fmla="*/ 1005 w 1056"/>
                  <a:gd name="T41" fmla="*/ 1023 h 1063"/>
                  <a:gd name="T42" fmla="*/ 1005 w 1056"/>
                  <a:gd name="T43" fmla="*/ 1022 h 1063"/>
                  <a:gd name="T44" fmla="*/ 1048 w 1056"/>
                  <a:gd name="T45" fmla="*/ 894 h 1063"/>
                  <a:gd name="T46" fmla="*/ 974 w 1056"/>
                  <a:gd name="T47" fmla="*/ 991 h 1063"/>
                  <a:gd name="T48" fmla="*/ 906 w 1056"/>
                  <a:gd name="T49" fmla="*/ 1019 h 1063"/>
                  <a:gd name="T50" fmla="*/ 883 w 1056"/>
                  <a:gd name="T51" fmla="*/ 1017 h 1063"/>
                  <a:gd name="T52" fmla="*/ 615 w 1056"/>
                  <a:gd name="T53" fmla="*/ 714 h 1063"/>
                  <a:gd name="T54" fmla="*/ 464 w 1056"/>
                  <a:gd name="T55" fmla="*/ 583 h 1063"/>
                  <a:gd name="T56" fmla="*/ 419 w 1056"/>
                  <a:gd name="T57" fmla="*/ 579 h 1063"/>
                  <a:gd name="T58" fmla="*/ 156 w 1056"/>
                  <a:gd name="T59" fmla="*/ 690 h 1063"/>
                  <a:gd name="T60" fmla="*/ 57 w 1056"/>
                  <a:gd name="T61" fmla="*/ 586 h 1063"/>
                  <a:gd name="T62" fmla="*/ 609 w 1056"/>
                  <a:gd name="T63" fmla="*/ 56 h 1063"/>
                  <a:gd name="T64" fmla="*/ 708 w 1056"/>
                  <a:gd name="T65" fmla="*/ 160 h 1063"/>
                  <a:gd name="T66" fmla="*/ 589 w 1056"/>
                  <a:gd name="T67" fmla="*/ 463 h 1063"/>
                  <a:gd name="T68" fmla="*/ 713 w 1056"/>
                  <a:gd name="T69" fmla="*/ 619 h 1063"/>
                  <a:gd name="T70" fmla="*/ 1004 w 1056"/>
                  <a:gd name="T71" fmla="*/ 901 h 1063"/>
                  <a:gd name="T72" fmla="*/ 975 w 1056"/>
                  <a:gd name="T73" fmla="*/ 991 h 1063"/>
                  <a:gd name="T74" fmla="*/ 974 w 1056"/>
                  <a:gd name="T75" fmla="*/ 991 h 1063"/>
                  <a:gd name="T76" fmla="*/ 974 w 1056"/>
                  <a:gd name="T77" fmla="*/ 991 h 10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56" h="1063">
                    <a:moveTo>
                      <a:pt x="1048" y="894"/>
                    </a:moveTo>
                    <a:cubicBezTo>
                      <a:pt x="1031" y="785"/>
                      <a:pt x="913" y="668"/>
                      <a:pt x="732" y="580"/>
                    </a:cubicBezTo>
                    <a:cubicBezTo>
                      <a:pt x="674" y="552"/>
                      <a:pt x="641" y="510"/>
                      <a:pt x="632" y="457"/>
                    </a:cubicBezTo>
                    <a:cubicBezTo>
                      <a:pt x="617" y="359"/>
                      <a:pt x="685" y="242"/>
                      <a:pt x="760" y="170"/>
                    </a:cubicBezTo>
                    <a:cubicBezTo>
                      <a:pt x="765" y="165"/>
                      <a:pt x="766" y="156"/>
                      <a:pt x="760" y="151"/>
                    </a:cubicBezTo>
                    <a:cubicBezTo>
                      <a:pt x="620" y="4"/>
                      <a:pt x="620" y="4"/>
                      <a:pt x="620" y="4"/>
                    </a:cubicBezTo>
                    <a:cubicBezTo>
                      <a:pt x="617" y="1"/>
                      <a:pt x="614" y="0"/>
                      <a:pt x="610" y="0"/>
                    </a:cubicBezTo>
                    <a:cubicBezTo>
                      <a:pt x="609" y="0"/>
                      <a:pt x="607" y="0"/>
                      <a:pt x="606" y="0"/>
                    </a:cubicBezTo>
                    <a:cubicBezTo>
                      <a:pt x="604" y="1"/>
                      <a:pt x="602" y="2"/>
                      <a:pt x="601" y="3"/>
                    </a:cubicBezTo>
                    <a:cubicBezTo>
                      <a:pt x="5" y="575"/>
                      <a:pt x="5" y="575"/>
                      <a:pt x="5" y="575"/>
                    </a:cubicBezTo>
                    <a:cubicBezTo>
                      <a:pt x="4" y="577"/>
                      <a:pt x="3" y="579"/>
                      <a:pt x="2" y="581"/>
                    </a:cubicBezTo>
                    <a:cubicBezTo>
                      <a:pt x="0" y="586"/>
                      <a:pt x="1" y="591"/>
                      <a:pt x="5" y="595"/>
                    </a:cubicBezTo>
                    <a:cubicBezTo>
                      <a:pt x="145" y="742"/>
                      <a:pt x="145" y="742"/>
                      <a:pt x="145" y="742"/>
                    </a:cubicBezTo>
                    <a:cubicBezTo>
                      <a:pt x="148" y="745"/>
                      <a:pt x="151" y="746"/>
                      <a:pt x="155" y="746"/>
                    </a:cubicBezTo>
                    <a:cubicBezTo>
                      <a:pt x="158" y="746"/>
                      <a:pt x="162" y="745"/>
                      <a:pt x="164" y="742"/>
                    </a:cubicBezTo>
                    <a:cubicBezTo>
                      <a:pt x="230" y="679"/>
                      <a:pt x="330" y="623"/>
                      <a:pt x="419" y="623"/>
                    </a:cubicBezTo>
                    <a:cubicBezTo>
                      <a:pt x="431" y="623"/>
                      <a:pt x="444" y="624"/>
                      <a:pt x="456" y="626"/>
                    </a:cubicBezTo>
                    <a:cubicBezTo>
                      <a:pt x="509" y="637"/>
                      <a:pt x="549" y="672"/>
                      <a:pt x="575" y="731"/>
                    </a:cubicBezTo>
                    <a:cubicBezTo>
                      <a:pt x="654" y="916"/>
                      <a:pt x="767" y="1039"/>
                      <a:pt x="875" y="1060"/>
                    </a:cubicBezTo>
                    <a:cubicBezTo>
                      <a:pt x="885" y="1062"/>
                      <a:pt x="896" y="1063"/>
                      <a:pt x="906" y="1063"/>
                    </a:cubicBezTo>
                    <a:cubicBezTo>
                      <a:pt x="943" y="1063"/>
                      <a:pt x="977" y="1050"/>
                      <a:pt x="1005" y="1023"/>
                    </a:cubicBezTo>
                    <a:cubicBezTo>
                      <a:pt x="1005" y="1022"/>
                      <a:pt x="1005" y="1022"/>
                      <a:pt x="1005" y="1022"/>
                    </a:cubicBezTo>
                    <a:cubicBezTo>
                      <a:pt x="1041" y="988"/>
                      <a:pt x="1056" y="944"/>
                      <a:pt x="1048" y="894"/>
                    </a:cubicBezTo>
                    <a:close/>
                    <a:moveTo>
                      <a:pt x="974" y="991"/>
                    </a:moveTo>
                    <a:cubicBezTo>
                      <a:pt x="955" y="1010"/>
                      <a:pt x="932" y="1019"/>
                      <a:pt x="906" y="1019"/>
                    </a:cubicBezTo>
                    <a:cubicBezTo>
                      <a:pt x="899" y="1019"/>
                      <a:pt x="891" y="1019"/>
                      <a:pt x="883" y="1017"/>
                    </a:cubicBezTo>
                    <a:cubicBezTo>
                      <a:pt x="791" y="999"/>
                      <a:pt x="688" y="882"/>
                      <a:pt x="615" y="714"/>
                    </a:cubicBezTo>
                    <a:cubicBezTo>
                      <a:pt x="584" y="642"/>
                      <a:pt x="532" y="596"/>
                      <a:pt x="464" y="583"/>
                    </a:cubicBezTo>
                    <a:cubicBezTo>
                      <a:pt x="450" y="580"/>
                      <a:pt x="435" y="579"/>
                      <a:pt x="419" y="579"/>
                    </a:cubicBezTo>
                    <a:cubicBezTo>
                      <a:pt x="322" y="579"/>
                      <a:pt x="224" y="633"/>
                      <a:pt x="156" y="690"/>
                    </a:cubicBezTo>
                    <a:cubicBezTo>
                      <a:pt x="57" y="586"/>
                      <a:pt x="57" y="586"/>
                      <a:pt x="57" y="586"/>
                    </a:cubicBezTo>
                    <a:cubicBezTo>
                      <a:pt x="609" y="56"/>
                      <a:pt x="609" y="56"/>
                      <a:pt x="609" y="56"/>
                    </a:cubicBezTo>
                    <a:cubicBezTo>
                      <a:pt x="708" y="160"/>
                      <a:pt x="708" y="160"/>
                      <a:pt x="708" y="160"/>
                    </a:cubicBezTo>
                    <a:cubicBezTo>
                      <a:pt x="639" y="236"/>
                      <a:pt x="572" y="353"/>
                      <a:pt x="589" y="463"/>
                    </a:cubicBezTo>
                    <a:cubicBezTo>
                      <a:pt x="600" y="531"/>
                      <a:pt x="643" y="585"/>
                      <a:pt x="713" y="619"/>
                    </a:cubicBezTo>
                    <a:cubicBezTo>
                      <a:pt x="878" y="700"/>
                      <a:pt x="990" y="808"/>
                      <a:pt x="1004" y="901"/>
                    </a:cubicBezTo>
                    <a:cubicBezTo>
                      <a:pt x="1010" y="936"/>
                      <a:pt x="1000" y="967"/>
                      <a:pt x="975" y="991"/>
                    </a:cubicBezTo>
                    <a:cubicBezTo>
                      <a:pt x="974" y="991"/>
                      <a:pt x="974" y="991"/>
                      <a:pt x="974" y="991"/>
                    </a:cubicBezTo>
                    <a:cubicBezTo>
                      <a:pt x="974" y="991"/>
                      <a:pt x="974" y="991"/>
                      <a:pt x="974" y="991"/>
                    </a:cubicBezTo>
                    <a:close/>
                  </a:path>
                </a:pathLst>
              </a:custGeom>
              <a:solidFill>
                <a:srgbClr val="E71C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60" name="Group 59"/>
          <p:cNvGrpSpPr>
            <a:grpSpLocks noChangeAspect="1"/>
          </p:cNvGrpSpPr>
          <p:nvPr/>
        </p:nvGrpSpPr>
        <p:grpSpPr>
          <a:xfrm>
            <a:off x="9015440" y="2430637"/>
            <a:ext cx="1645920" cy="1645920"/>
            <a:chOff x="2663826" y="-3174"/>
            <a:chExt cx="6858000" cy="6858000"/>
          </a:xfrm>
        </p:grpSpPr>
        <p:sp>
          <p:nvSpPr>
            <p:cNvPr id="61" name="AutoShape 30"/>
            <p:cNvSpPr>
              <a:spLocks noChangeAspect="1" noChangeArrowheads="1" noTextEdit="1"/>
            </p:cNvSpPr>
            <p:nvPr/>
          </p:nvSpPr>
          <p:spPr bwMode="auto">
            <a:xfrm>
              <a:off x="2663826" y="-3174"/>
              <a:ext cx="6858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62" name="Group 61"/>
            <p:cNvGrpSpPr/>
            <p:nvPr/>
          </p:nvGrpSpPr>
          <p:grpSpPr>
            <a:xfrm>
              <a:off x="3173414" y="704851"/>
              <a:ext cx="5838825" cy="5441950"/>
              <a:chOff x="3173413" y="704850"/>
              <a:chExt cx="5838825" cy="5441951"/>
            </a:xfrm>
          </p:grpSpPr>
          <p:sp>
            <p:nvSpPr>
              <p:cNvPr id="63" name="Freeform 62"/>
              <p:cNvSpPr>
                <a:spLocks/>
              </p:cNvSpPr>
              <p:nvPr/>
            </p:nvSpPr>
            <p:spPr bwMode="auto">
              <a:xfrm>
                <a:off x="3657601" y="2173288"/>
                <a:ext cx="4870450" cy="3684588"/>
              </a:xfrm>
              <a:custGeom>
                <a:avLst/>
                <a:gdLst>
                  <a:gd name="connsiteX0" fmla="*/ 651682 w 4870451"/>
                  <a:gd name="connsiteY0" fmla="*/ 2195512 h 3684587"/>
                  <a:gd name="connsiteX1" fmla="*/ 4209442 w 4870451"/>
                  <a:gd name="connsiteY1" fmla="*/ 2195512 h 3684587"/>
                  <a:gd name="connsiteX2" fmla="*/ 4236237 w 4870451"/>
                  <a:gd name="connsiteY2" fmla="*/ 2204447 h 3684587"/>
                  <a:gd name="connsiteX3" fmla="*/ 4254100 w 4870451"/>
                  <a:gd name="connsiteY3" fmla="*/ 2213381 h 3684587"/>
                  <a:gd name="connsiteX4" fmla="*/ 4254100 w 4870451"/>
                  <a:gd name="connsiteY4" fmla="*/ 2216359 h 3684587"/>
                  <a:gd name="connsiteX5" fmla="*/ 4266009 w 4870451"/>
                  <a:gd name="connsiteY5" fmla="*/ 2234228 h 3684587"/>
                  <a:gd name="connsiteX6" fmla="*/ 4271963 w 4870451"/>
                  <a:gd name="connsiteY6" fmla="*/ 2261032 h 3684587"/>
                  <a:gd name="connsiteX7" fmla="*/ 4271963 w 4870451"/>
                  <a:gd name="connsiteY7" fmla="*/ 3625024 h 3684587"/>
                  <a:gd name="connsiteX8" fmla="*/ 4266009 w 4870451"/>
                  <a:gd name="connsiteY8" fmla="*/ 3645871 h 3684587"/>
                  <a:gd name="connsiteX9" fmla="*/ 4266009 w 4870451"/>
                  <a:gd name="connsiteY9" fmla="*/ 3648849 h 3684587"/>
                  <a:gd name="connsiteX10" fmla="*/ 4254100 w 4870451"/>
                  <a:gd name="connsiteY10" fmla="*/ 3666718 h 3684587"/>
                  <a:gd name="connsiteX11" fmla="*/ 4236237 w 4870451"/>
                  <a:gd name="connsiteY11" fmla="*/ 3678631 h 3684587"/>
                  <a:gd name="connsiteX12" fmla="*/ 4209442 w 4870451"/>
                  <a:gd name="connsiteY12" fmla="*/ 3684587 h 3684587"/>
                  <a:gd name="connsiteX13" fmla="*/ 651682 w 4870451"/>
                  <a:gd name="connsiteY13" fmla="*/ 3684587 h 3684587"/>
                  <a:gd name="connsiteX14" fmla="*/ 627865 w 4870451"/>
                  <a:gd name="connsiteY14" fmla="*/ 3678631 h 3684587"/>
                  <a:gd name="connsiteX15" fmla="*/ 610001 w 4870451"/>
                  <a:gd name="connsiteY15" fmla="*/ 3666718 h 3684587"/>
                  <a:gd name="connsiteX16" fmla="*/ 595115 w 4870451"/>
                  <a:gd name="connsiteY16" fmla="*/ 3648849 h 3684587"/>
                  <a:gd name="connsiteX17" fmla="*/ 595115 w 4870451"/>
                  <a:gd name="connsiteY17" fmla="*/ 3645871 h 3684587"/>
                  <a:gd name="connsiteX18" fmla="*/ 592138 w 4870451"/>
                  <a:gd name="connsiteY18" fmla="*/ 3625024 h 3684587"/>
                  <a:gd name="connsiteX19" fmla="*/ 592138 w 4870451"/>
                  <a:gd name="connsiteY19" fmla="*/ 2261032 h 3684587"/>
                  <a:gd name="connsiteX20" fmla="*/ 595115 w 4870451"/>
                  <a:gd name="connsiteY20" fmla="*/ 2234228 h 3684587"/>
                  <a:gd name="connsiteX21" fmla="*/ 610001 w 4870451"/>
                  <a:gd name="connsiteY21" fmla="*/ 2216359 h 3684587"/>
                  <a:gd name="connsiteX22" fmla="*/ 610001 w 4870451"/>
                  <a:gd name="connsiteY22" fmla="*/ 2213381 h 3684587"/>
                  <a:gd name="connsiteX23" fmla="*/ 627865 w 4870451"/>
                  <a:gd name="connsiteY23" fmla="*/ 2204447 h 3684587"/>
                  <a:gd name="connsiteX24" fmla="*/ 651682 w 4870451"/>
                  <a:gd name="connsiteY24" fmla="*/ 2195512 h 3684587"/>
                  <a:gd name="connsiteX25" fmla="*/ 3001069 w 4870451"/>
                  <a:gd name="connsiteY25" fmla="*/ 949325 h 3684587"/>
                  <a:gd name="connsiteX26" fmla="*/ 3004042 w 4870451"/>
                  <a:gd name="connsiteY26" fmla="*/ 952300 h 3684587"/>
                  <a:gd name="connsiteX27" fmla="*/ 3004042 w 4870451"/>
                  <a:gd name="connsiteY27" fmla="*/ 955274 h 3684587"/>
                  <a:gd name="connsiteX28" fmla="*/ 3015937 w 4870451"/>
                  <a:gd name="connsiteY28" fmla="*/ 964198 h 3684587"/>
                  <a:gd name="connsiteX29" fmla="*/ 3030806 w 4870451"/>
                  <a:gd name="connsiteY29" fmla="*/ 982046 h 3684587"/>
                  <a:gd name="connsiteX30" fmla="*/ 3051623 w 4870451"/>
                  <a:gd name="connsiteY30" fmla="*/ 1002868 h 3684587"/>
                  <a:gd name="connsiteX31" fmla="*/ 3075413 w 4870451"/>
                  <a:gd name="connsiteY31" fmla="*/ 1029639 h 3684587"/>
                  <a:gd name="connsiteX32" fmla="*/ 3099203 w 4870451"/>
                  <a:gd name="connsiteY32" fmla="*/ 1059385 h 3684587"/>
                  <a:gd name="connsiteX33" fmla="*/ 3128941 w 4870451"/>
                  <a:gd name="connsiteY33" fmla="*/ 1095080 h 3684587"/>
                  <a:gd name="connsiteX34" fmla="*/ 3158678 w 4870451"/>
                  <a:gd name="connsiteY34" fmla="*/ 1136724 h 3684587"/>
                  <a:gd name="connsiteX35" fmla="*/ 3185442 w 4870451"/>
                  <a:gd name="connsiteY35" fmla="*/ 1175394 h 3684587"/>
                  <a:gd name="connsiteX36" fmla="*/ 3215180 w 4870451"/>
                  <a:gd name="connsiteY36" fmla="*/ 1220012 h 3684587"/>
                  <a:gd name="connsiteX37" fmla="*/ 3241944 w 4870451"/>
                  <a:gd name="connsiteY37" fmla="*/ 1267606 h 3684587"/>
                  <a:gd name="connsiteX38" fmla="*/ 3265734 w 4870451"/>
                  <a:gd name="connsiteY38" fmla="*/ 1312224 h 3684587"/>
                  <a:gd name="connsiteX39" fmla="*/ 3286551 w 4870451"/>
                  <a:gd name="connsiteY39" fmla="*/ 1359818 h 3684587"/>
                  <a:gd name="connsiteX40" fmla="*/ 3301419 w 4870451"/>
                  <a:gd name="connsiteY40" fmla="*/ 1407411 h 3684587"/>
                  <a:gd name="connsiteX41" fmla="*/ 3313314 w 4870451"/>
                  <a:gd name="connsiteY41" fmla="*/ 1455005 h 3684587"/>
                  <a:gd name="connsiteX42" fmla="*/ 3316288 w 4870451"/>
                  <a:gd name="connsiteY42" fmla="*/ 1502598 h 3684587"/>
                  <a:gd name="connsiteX43" fmla="*/ 3313314 w 4870451"/>
                  <a:gd name="connsiteY43" fmla="*/ 1565064 h 3684587"/>
                  <a:gd name="connsiteX44" fmla="*/ 3301419 w 4870451"/>
                  <a:gd name="connsiteY44" fmla="*/ 1621581 h 3684587"/>
                  <a:gd name="connsiteX45" fmla="*/ 3286551 w 4870451"/>
                  <a:gd name="connsiteY45" fmla="*/ 1669175 h 3684587"/>
                  <a:gd name="connsiteX46" fmla="*/ 3262760 w 4870451"/>
                  <a:gd name="connsiteY46" fmla="*/ 1710819 h 3684587"/>
                  <a:gd name="connsiteX47" fmla="*/ 3235996 w 4870451"/>
                  <a:gd name="connsiteY47" fmla="*/ 1749488 h 3684587"/>
                  <a:gd name="connsiteX48" fmla="*/ 3203285 w 4870451"/>
                  <a:gd name="connsiteY48" fmla="*/ 1779234 h 3684587"/>
                  <a:gd name="connsiteX49" fmla="*/ 3167600 w 4870451"/>
                  <a:gd name="connsiteY49" fmla="*/ 1803031 h 3684587"/>
                  <a:gd name="connsiteX50" fmla="*/ 3131914 w 4870451"/>
                  <a:gd name="connsiteY50" fmla="*/ 1820878 h 3684587"/>
                  <a:gd name="connsiteX51" fmla="*/ 3087308 w 4870451"/>
                  <a:gd name="connsiteY51" fmla="*/ 1835751 h 3684587"/>
                  <a:gd name="connsiteX52" fmla="*/ 3042701 w 4870451"/>
                  <a:gd name="connsiteY52" fmla="*/ 1841701 h 3684587"/>
                  <a:gd name="connsiteX53" fmla="*/ 3001069 w 4870451"/>
                  <a:gd name="connsiteY53" fmla="*/ 1844675 h 3684587"/>
                  <a:gd name="connsiteX54" fmla="*/ 2950515 w 4870451"/>
                  <a:gd name="connsiteY54" fmla="*/ 1841701 h 3684587"/>
                  <a:gd name="connsiteX55" fmla="*/ 2902934 w 4870451"/>
                  <a:gd name="connsiteY55" fmla="*/ 1829802 h 3684587"/>
                  <a:gd name="connsiteX56" fmla="*/ 2858328 w 4870451"/>
                  <a:gd name="connsiteY56" fmla="*/ 1808980 h 3684587"/>
                  <a:gd name="connsiteX57" fmla="*/ 2816695 w 4870451"/>
                  <a:gd name="connsiteY57" fmla="*/ 1785183 h 3684587"/>
                  <a:gd name="connsiteX58" fmla="*/ 2778036 w 4870451"/>
                  <a:gd name="connsiteY58" fmla="*/ 1755438 h 3684587"/>
                  <a:gd name="connsiteX59" fmla="*/ 2745324 w 4870451"/>
                  <a:gd name="connsiteY59" fmla="*/ 1716768 h 3684587"/>
                  <a:gd name="connsiteX60" fmla="*/ 2721534 w 4870451"/>
                  <a:gd name="connsiteY60" fmla="*/ 1669175 h 3684587"/>
                  <a:gd name="connsiteX61" fmla="*/ 2700718 w 4870451"/>
                  <a:gd name="connsiteY61" fmla="*/ 1621581 h 3684587"/>
                  <a:gd name="connsiteX62" fmla="*/ 2688823 w 4870451"/>
                  <a:gd name="connsiteY62" fmla="*/ 1565064 h 3684587"/>
                  <a:gd name="connsiteX63" fmla="*/ 2682875 w 4870451"/>
                  <a:gd name="connsiteY63" fmla="*/ 1502598 h 3684587"/>
                  <a:gd name="connsiteX64" fmla="*/ 2688823 w 4870451"/>
                  <a:gd name="connsiteY64" fmla="*/ 1463928 h 3684587"/>
                  <a:gd name="connsiteX65" fmla="*/ 2694770 w 4870451"/>
                  <a:gd name="connsiteY65" fmla="*/ 1422284 h 3684587"/>
                  <a:gd name="connsiteX66" fmla="*/ 2709639 w 4870451"/>
                  <a:gd name="connsiteY66" fmla="*/ 1377665 h 3684587"/>
                  <a:gd name="connsiteX67" fmla="*/ 2727482 w 4870451"/>
                  <a:gd name="connsiteY67" fmla="*/ 1336021 h 3684587"/>
                  <a:gd name="connsiteX68" fmla="*/ 2748298 w 4870451"/>
                  <a:gd name="connsiteY68" fmla="*/ 1294377 h 3684587"/>
                  <a:gd name="connsiteX69" fmla="*/ 2775062 w 4870451"/>
                  <a:gd name="connsiteY69" fmla="*/ 1249758 h 3684587"/>
                  <a:gd name="connsiteX70" fmla="*/ 2798852 w 4870451"/>
                  <a:gd name="connsiteY70" fmla="*/ 1208114 h 3684587"/>
                  <a:gd name="connsiteX71" fmla="*/ 2825616 w 4870451"/>
                  <a:gd name="connsiteY71" fmla="*/ 1166470 h 3684587"/>
                  <a:gd name="connsiteX72" fmla="*/ 2855354 w 4870451"/>
                  <a:gd name="connsiteY72" fmla="*/ 1127800 h 3684587"/>
                  <a:gd name="connsiteX73" fmla="*/ 2882118 w 4870451"/>
                  <a:gd name="connsiteY73" fmla="*/ 1092105 h 3684587"/>
                  <a:gd name="connsiteX74" fmla="*/ 2908882 w 4870451"/>
                  <a:gd name="connsiteY74" fmla="*/ 1056410 h 3684587"/>
                  <a:gd name="connsiteX75" fmla="*/ 2932672 w 4870451"/>
                  <a:gd name="connsiteY75" fmla="*/ 1026664 h 3684587"/>
                  <a:gd name="connsiteX76" fmla="*/ 2953488 w 4870451"/>
                  <a:gd name="connsiteY76" fmla="*/ 999893 h 3684587"/>
                  <a:gd name="connsiteX77" fmla="*/ 2971331 w 4870451"/>
                  <a:gd name="connsiteY77" fmla="*/ 979071 h 3684587"/>
                  <a:gd name="connsiteX78" fmla="*/ 2983226 w 4870451"/>
                  <a:gd name="connsiteY78" fmla="*/ 964198 h 3684587"/>
                  <a:gd name="connsiteX79" fmla="*/ 2986200 w 4870451"/>
                  <a:gd name="connsiteY79" fmla="*/ 964198 h 3684587"/>
                  <a:gd name="connsiteX80" fmla="*/ 2995121 w 4870451"/>
                  <a:gd name="connsiteY80" fmla="*/ 955274 h 3684587"/>
                  <a:gd name="connsiteX81" fmla="*/ 2998095 w 4870451"/>
                  <a:gd name="connsiteY81" fmla="*/ 952300 h 3684587"/>
                  <a:gd name="connsiteX82" fmla="*/ 3001069 w 4870451"/>
                  <a:gd name="connsiteY82" fmla="*/ 949325 h 3684587"/>
                  <a:gd name="connsiteX83" fmla="*/ 3140892 w 4870451"/>
                  <a:gd name="connsiteY83" fmla="*/ 309562 h 3684587"/>
                  <a:gd name="connsiteX84" fmla="*/ 3143863 w 4870451"/>
                  <a:gd name="connsiteY84" fmla="*/ 309562 h 3684587"/>
                  <a:gd name="connsiteX85" fmla="*/ 3568701 w 4870451"/>
                  <a:gd name="connsiteY85" fmla="*/ 734400 h 3684587"/>
                  <a:gd name="connsiteX86" fmla="*/ 3568701 w 4870451"/>
                  <a:gd name="connsiteY86" fmla="*/ 737371 h 3684587"/>
                  <a:gd name="connsiteX87" fmla="*/ 3372622 w 4870451"/>
                  <a:gd name="connsiteY87" fmla="*/ 933450 h 3684587"/>
                  <a:gd name="connsiteX88" fmla="*/ 3369651 w 4870451"/>
                  <a:gd name="connsiteY88" fmla="*/ 933450 h 3684587"/>
                  <a:gd name="connsiteX89" fmla="*/ 2947784 w 4870451"/>
                  <a:gd name="connsiteY89" fmla="*/ 508612 h 3684587"/>
                  <a:gd name="connsiteX90" fmla="*/ 2947784 w 4870451"/>
                  <a:gd name="connsiteY90" fmla="*/ 505641 h 3684587"/>
                  <a:gd name="connsiteX91" fmla="*/ 3140892 w 4870451"/>
                  <a:gd name="connsiteY91" fmla="*/ 309562 h 3684587"/>
                  <a:gd name="connsiteX92" fmla="*/ 1726588 w 4870451"/>
                  <a:gd name="connsiteY92" fmla="*/ 309562 h 3684587"/>
                  <a:gd name="connsiteX93" fmla="*/ 1729559 w 4870451"/>
                  <a:gd name="connsiteY93" fmla="*/ 309562 h 3684587"/>
                  <a:gd name="connsiteX94" fmla="*/ 1922667 w 4870451"/>
                  <a:gd name="connsiteY94" fmla="*/ 505641 h 3684587"/>
                  <a:gd name="connsiteX95" fmla="*/ 1922667 w 4870451"/>
                  <a:gd name="connsiteY95" fmla="*/ 508612 h 3684587"/>
                  <a:gd name="connsiteX96" fmla="*/ 1500800 w 4870451"/>
                  <a:gd name="connsiteY96" fmla="*/ 933450 h 3684587"/>
                  <a:gd name="connsiteX97" fmla="*/ 1497829 w 4870451"/>
                  <a:gd name="connsiteY97" fmla="*/ 933450 h 3684587"/>
                  <a:gd name="connsiteX98" fmla="*/ 1301750 w 4870451"/>
                  <a:gd name="connsiteY98" fmla="*/ 737371 h 3684587"/>
                  <a:gd name="connsiteX99" fmla="*/ 1301750 w 4870451"/>
                  <a:gd name="connsiteY99" fmla="*/ 734400 h 3684587"/>
                  <a:gd name="connsiteX100" fmla="*/ 1726588 w 4870451"/>
                  <a:gd name="connsiteY100" fmla="*/ 309562 h 3684587"/>
                  <a:gd name="connsiteX101" fmla="*/ 3465315 w 4870451"/>
                  <a:gd name="connsiteY101" fmla="*/ 0 h 3684587"/>
                  <a:gd name="connsiteX102" fmla="*/ 4867474 w 4870451"/>
                  <a:gd name="connsiteY102" fmla="*/ 0 h 3684587"/>
                  <a:gd name="connsiteX103" fmla="*/ 4870451 w 4870451"/>
                  <a:gd name="connsiteY103" fmla="*/ 0 h 3684587"/>
                  <a:gd name="connsiteX104" fmla="*/ 4870451 w 4870451"/>
                  <a:gd name="connsiteY104" fmla="*/ 2972 h 3684587"/>
                  <a:gd name="connsiteX105" fmla="*/ 4456651 w 4870451"/>
                  <a:gd name="connsiteY105" fmla="*/ 416128 h 3684587"/>
                  <a:gd name="connsiteX106" fmla="*/ 4456651 w 4870451"/>
                  <a:gd name="connsiteY106" fmla="*/ 419100 h 3684587"/>
                  <a:gd name="connsiteX107" fmla="*/ 3757060 w 4870451"/>
                  <a:gd name="connsiteY107" fmla="*/ 419100 h 3684587"/>
                  <a:gd name="connsiteX108" fmla="*/ 3757060 w 4870451"/>
                  <a:gd name="connsiteY108" fmla="*/ 416128 h 3684587"/>
                  <a:gd name="connsiteX109" fmla="*/ 3462338 w 4870451"/>
                  <a:gd name="connsiteY109" fmla="*/ 124838 h 3684587"/>
                  <a:gd name="connsiteX110" fmla="*/ 3462338 w 4870451"/>
                  <a:gd name="connsiteY110" fmla="*/ 121866 h 3684587"/>
                  <a:gd name="connsiteX111" fmla="*/ 3462338 w 4870451"/>
                  <a:gd name="connsiteY111" fmla="*/ 2972 h 3684587"/>
                  <a:gd name="connsiteX112" fmla="*/ 3465315 w 4870451"/>
                  <a:gd name="connsiteY112" fmla="*/ 0 h 3684587"/>
                  <a:gd name="connsiteX113" fmla="*/ 0 w 4870451"/>
                  <a:gd name="connsiteY113" fmla="*/ 0 h 3684587"/>
                  <a:gd name="connsiteX114" fmla="*/ 2977 w 4870451"/>
                  <a:gd name="connsiteY114" fmla="*/ 0 h 3684587"/>
                  <a:gd name="connsiteX115" fmla="*/ 1405136 w 4870451"/>
                  <a:gd name="connsiteY115" fmla="*/ 0 h 3684587"/>
                  <a:gd name="connsiteX116" fmla="*/ 1408113 w 4870451"/>
                  <a:gd name="connsiteY116" fmla="*/ 2972 h 3684587"/>
                  <a:gd name="connsiteX117" fmla="*/ 1408113 w 4870451"/>
                  <a:gd name="connsiteY117" fmla="*/ 121866 h 3684587"/>
                  <a:gd name="connsiteX118" fmla="*/ 1408113 w 4870451"/>
                  <a:gd name="connsiteY118" fmla="*/ 124838 h 3684587"/>
                  <a:gd name="connsiteX119" fmla="*/ 1113392 w 4870451"/>
                  <a:gd name="connsiteY119" fmla="*/ 416128 h 3684587"/>
                  <a:gd name="connsiteX120" fmla="*/ 1113392 w 4870451"/>
                  <a:gd name="connsiteY120" fmla="*/ 419100 h 3684587"/>
                  <a:gd name="connsiteX121" fmla="*/ 413801 w 4870451"/>
                  <a:gd name="connsiteY121" fmla="*/ 419100 h 3684587"/>
                  <a:gd name="connsiteX122" fmla="*/ 413801 w 4870451"/>
                  <a:gd name="connsiteY122" fmla="*/ 416128 h 3684587"/>
                  <a:gd name="connsiteX123" fmla="*/ 0 w 4870451"/>
                  <a:gd name="connsiteY123" fmla="*/ 2972 h 3684587"/>
                  <a:gd name="connsiteX124" fmla="*/ 0 w 4870451"/>
                  <a:gd name="connsiteY124" fmla="*/ 0 h 3684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4870451" h="3684587">
                    <a:moveTo>
                      <a:pt x="651682" y="2195512"/>
                    </a:moveTo>
                    <a:cubicBezTo>
                      <a:pt x="651682" y="2195512"/>
                      <a:pt x="651682" y="2195512"/>
                      <a:pt x="4209442" y="2195512"/>
                    </a:cubicBezTo>
                    <a:cubicBezTo>
                      <a:pt x="4209442" y="2195512"/>
                      <a:pt x="4209442" y="2195512"/>
                      <a:pt x="4236237" y="2204447"/>
                    </a:cubicBezTo>
                    <a:cubicBezTo>
                      <a:pt x="4236237" y="2204447"/>
                      <a:pt x="4236237" y="2204447"/>
                      <a:pt x="4254100" y="2213381"/>
                    </a:cubicBezTo>
                    <a:cubicBezTo>
                      <a:pt x="4254100" y="2213381"/>
                      <a:pt x="4254100" y="2216359"/>
                      <a:pt x="4254100" y="2216359"/>
                    </a:cubicBezTo>
                    <a:cubicBezTo>
                      <a:pt x="4254100" y="2216359"/>
                      <a:pt x="4254100" y="2216359"/>
                      <a:pt x="4266009" y="2234228"/>
                    </a:cubicBezTo>
                    <a:lnTo>
                      <a:pt x="4271963" y="2261032"/>
                    </a:lnTo>
                    <a:cubicBezTo>
                      <a:pt x="4271963" y="2261032"/>
                      <a:pt x="4271963" y="2261032"/>
                      <a:pt x="4271963" y="3625024"/>
                    </a:cubicBezTo>
                    <a:cubicBezTo>
                      <a:pt x="4271963" y="3625024"/>
                      <a:pt x="4271963" y="3625024"/>
                      <a:pt x="4266009" y="3645871"/>
                    </a:cubicBezTo>
                    <a:cubicBezTo>
                      <a:pt x="4266009" y="3645871"/>
                      <a:pt x="4266009" y="3648849"/>
                      <a:pt x="4266009" y="3648849"/>
                    </a:cubicBezTo>
                    <a:cubicBezTo>
                      <a:pt x="4266009" y="3648849"/>
                      <a:pt x="4266009" y="3648849"/>
                      <a:pt x="4254100" y="3666718"/>
                    </a:cubicBezTo>
                    <a:cubicBezTo>
                      <a:pt x="4254100" y="3666718"/>
                      <a:pt x="4254100" y="3666718"/>
                      <a:pt x="4236237" y="3678631"/>
                    </a:cubicBezTo>
                    <a:cubicBezTo>
                      <a:pt x="4236237" y="3678631"/>
                      <a:pt x="4236237" y="3678631"/>
                      <a:pt x="4209442" y="3684587"/>
                    </a:cubicBezTo>
                    <a:cubicBezTo>
                      <a:pt x="4209442" y="3684587"/>
                      <a:pt x="4209442" y="3684587"/>
                      <a:pt x="651682" y="3684587"/>
                    </a:cubicBezTo>
                    <a:cubicBezTo>
                      <a:pt x="651682" y="3684587"/>
                      <a:pt x="651682" y="3684587"/>
                      <a:pt x="627865" y="3678631"/>
                    </a:cubicBezTo>
                    <a:cubicBezTo>
                      <a:pt x="627865" y="3678631"/>
                      <a:pt x="627865" y="3678631"/>
                      <a:pt x="610001" y="3666718"/>
                    </a:cubicBezTo>
                    <a:cubicBezTo>
                      <a:pt x="610001" y="3666718"/>
                      <a:pt x="610001" y="3666718"/>
                      <a:pt x="595115" y="3648849"/>
                    </a:cubicBezTo>
                    <a:cubicBezTo>
                      <a:pt x="595115" y="3648849"/>
                      <a:pt x="595115" y="3645871"/>
                      <a:pt x="595115" y="3645871"/>
                    </a:cubicBezTo>
                    <a:cubicBezTo>
                      <a:pt x="595115" y="3645871"/>
                      <a:pt x="595115" y="3645871"/>
                      <a:pt x="592138" y="3625024"/>
                    </a:cubicBezTo>
                    <a:cubicBezTo>
                      <a:pt x="592138" y="3625024"/>
                      <a:pt x="592138" y="3625024"/>
                      <a:pt x="592138" y="2261032"/>
                    </a:cubicBezTo>
                    <a:cubicBezTo>
                      <a:pt x="592138" y="2261032"/>
                      <a:pt x="592138" y="2261032"/>
                      <a:pt x="595115" y="2234228"/>
                    </a:cubicBezTo>
                    <a:cubicBezTo>
                      <a:pt x="595115" y="2234228"/>
                      <a:pt x="595115" y="2234228"/>
                      <a:pt x="610001" y="2216359"/>
                    </a:cubicBezTo>
                    <a:cubicBezTo>
                      <a:pt x="610001" y="2213381"/>
                      <a:pt x="610001" y="2213381"/>
                      <a:pt x="610001" y="2213381"/>
                    </a:cubicBezTo>
                    <a:cubicBezTo>
                      <a:pt x="610001" y="2213381"/>
                      <a:pt x="610001" y="2213381"/>
                      <a:pt x="627865" y="2204447"/>
                    </a:cubicBezTo>
                    <a:cubicBezTo>
                      <a:pt x="627865" y="2204447"/>
                      <a:pt x="627865" y="2204447"/>
                      <a:pt x="651682" y="2195512"/>
                    </a:cubicBezTo>
                    <a:close/>
                    <a:moveTo>
                      <a:pt x="3001069" y="949325"/>
                    </a:moveTo>
                    <a:cubicBezTo>
                      <a:pt x="3001069" y="949325"/>
                      <a:pt x="3004042" y="952300"/>
                      <a:pt x="3004042" y="952300"/>
                    </a:cubicBezTo>
                    <a:cubicBezTo>
                      <a:pt x="3004042" y="952300"/>
                      <a:pt x="3004042" y="952300"/>
                      <a:pt x="3004042" y="955274"/>
                    </a:cubicBezTo>
                    <a:cubicBezTo>
                      <a:pt x="3004042" y="955274"/>
                      <a:pt x="3004042" y="955274"/>
                      <a:pt x="3015937" y="964198"/>
                    </a:cubicBezTo>
                    <a:cubicBezTo>
                      <a:pt x="3015937" y="964198"/>
                      <a:pt x="3015937" y="964198"/>
                      <a:pt x="3030806" y="982046"/>
                    </a:cubicBezTo>
                    <a:cubicBezTo>
                      <a:pt x="3030806" y="982046"/>
                      <a:pt x="3030806" y="982046"/>
                      <a:pt x="3051623" y="1002868"/>
                    </a:cubicBezTo>
                    <a:cubicBezTo>
                      <a:pt x="3051623" y="1002868"/>
                      <a:pt x="3051623" y="1002868"/>
                      <a:pt x="3075413" y="1029639"/>
                    </a:cubicBezTo>
                    <a:cubicBezTo>
                      <a:pt x="3075413" y="1029639"/>
                      <a:pt x="3075413" y="1029639"/>
                      <a:pt x="3099203" y="1059385"/>
                    </a:cubicBezTo>
                    <a:cubicBezTo>
                      <a:pt x="3099203" y="1059385"/>
                      <a:pt x="3099203" y="1059385"/>
                      <a:pt x="3128941" y="1095080"/>
                    </a:cubicBezTo>
                    <a:cubicBezTo>
                      <a:pt x="3128941" y="1095080"/>
                      <a:pt x="3128941" y="1095080"/>
                      <a:pt x="3158678" y="1136724"/>
                    </a:cubicBezTo>
                    <a:cubicBezTo>
                      <a:pt x="3158678" y="1136724"/>
                      <a:pt x="3158678" y="1136724"/>
                      <a:pt x="3185442" y="1175394"/>
                    </a:cubicBezTo>
                    <a:cubicBezTo>
                      <a:pt x="3185442" y="1175394"/>
                      <a:pt x="3185442" y="1175394"/>
                      <a:pt x="3215180" y="1220012"/>
                    </a:cubicBezTo>
                    <a:cubicBezTo>
                      <a:pt x="3215180" y="1220012"/>
                      <a:pt x="3215180" y="1220012"/>
                      <a:pt x="3241944" y="1267606"/>
                    </a:cubicBezTo>
                    <a:cubicBezTo>
                      <a:pt x="3241944" y="1267606"/>
                      <a:pt x="3241944" y="1267606"/>
                      <a:pt x="3265734" y="1312224"/>
                    </a:cubicBezTo>
                    <a:cubicBezTo>
                      <a:pt x="3265734" y="1312224"/>
                      <a:pt x="3265734" y="1312224"/>
                      <a:pt x="3286551" y="1359818"/>
                    </a:cubicBezTo>
                    <a:cubicBezTo>
                      <a:pt x="3286551" y="1359818"/>
                      <a:pt x="3286551" y="1359818"/>
                      <a:pt x="3301419" y="1407411"/>
                    </a:cubicBezTo>
                    <a:cubicBezTo>
                      <a:pt x="3301419" y="1407411"/>
                      <a:pt x="3301419" y="1407411"/>
                      <a:pt x="3313314" y="1455005"/>
                    </a:cubicBezTo>
                    <a:cubicBezTo>
                      <a:pt x="3313314" y="1455005"/>
                      <a:pt x="3313314" y="1455005"/>
                      <a:pt x="3316288" y="1502598"/>
                    </a:cubicBezTo>
                    <a:cubicBezTo>
                      <a:pt x="3316288" y="1502598"/>
                      <a:pt x="3316288" y="1502598"/>
                      <a:pt x="3313314" y="1565064"/>
                    </a:cubicBezTo>
                    <a:cubicBezTo>
                      <a:pt x="3313314" y="1565064"/>
                      <a:pt x="3313314" y="1565064"/>
                      <a:pt x="3301419" y="1621581"/>
                    </a:cubicBezTo>
                    <a:cubicBezTo>
                      <a:pt x="3301419" y="1621581"/>
                      <a:pt x="3301419" y="1621581"/>
                      <a:pt x="3286551" y="1669175"/>
                    </a:cubicBezTo>
                    <a:cubicBezTo>
                      <a:pt x="3286551" y="1669175"/>
                      <a:pt x="3286551" y="1669175"/>
                      <a:pt x="3262760" y="1710819"/>
                    </a:cubicBezTo>
                    <a:cubicBezTo>
                      <a:pt x="3262760" y="1710819"/>
                      <a:pt x="3262760" y="1710819"/>
                      <a:pt x="3235996" y="1749488"/>
                    </a:cubicBezTo>
                    <a:cubicBezTo>
                      <a:pt x="3235996" y="1749488"/>
                      <a:pt x="3235996" y="1749488"/>
                      <a:pt x="3203285" y="1779234"/>
                    </a:cubicBezTo>
                    <a:cubicBezTo>
                      <a:pt x="3203285" y="1779234"/>
                      <a:pt x="3203285" y="1779234"/>
                      <a:pt x="3167600" y="1803031"/>
                    </a:cubicBezTo>
                    <a:cubicBezTo>
                      <a:pt x="3167600" y="1803031"/>
                      <a:pt x="3167600" y="1803031"/>
                      <a:pt x="3131914" y="1820878"/>
                    </a:cubicBezTo>
                    <a:cubicBezTo>
                      <a:pt x="3131914" y="1820878"/>
                      <a:pt x="3131914" y="1820878"/>
                      <a:pt x="3087308" y="1835751"/>
                    </a:cubicBezTo>
                    <a:cubicBezTo>
                      <a:pt x="3087308" y="1835751"/>
                      <a:pt x="3087308" y="1835751"/>
                      <a:pt x="3042701" y="1841701"/>
                    </a:cubicBezTo>
                    <a:cubicBezTo>
                      <a:pt x="3042701" y="1841701"/>
                      <a:pt x="3042701" y="1841701"/>
                      <a:pt x="3001069" y="1844675"/>
                    </a:cubicBezTo>
                    <a:cubicBezTo>
                      <a:pt x="3001069" y="1844675"/>
                      <a:pt x="3001069" y="1844675"/>
                      <a:pt x="2950515" y="1841701"/>
                    </a:cubicBezTo>
                    <a:cubicBezTo>
                      <a:pt x="2950515" y="1841701"/>
                      <a:pt x="2950515" y="1841701"/>
                      <a:pt x="2902934" y="1829802"/>
                    </a:cubicBezTo>
                    <a:cubicBezTo>
                      <a:pt x="2902934" y="1829802"/>
                      <a:pt x="2902934" y="1829802"/>
                      <a:pt x="2858328" y="1808980"/>
                    </a:cubicBezTo>
                    <a:cubicBezTo>
                      <a:pt x="2858328" y="1808980"/>
                      <a:pt x="2858328" y="1808980"/>
                      <a:pt x="2816695" y="1785183"/>
                    </a:cubicBezTo>
                    <a:cubicBezTo>
                      <a:pt x="2816695" y="1785183"/>
                      <a:pt x="2816695" y="1785183"/>
                      <a:pt x="2778036" y="1755438"/>
                    </a:cubicBezTo>
                    <a:cubicBezTo>
                      <a:pt x="2778036" y="1755438"/>
                      <a:pt x="2778036" y="1755438"/>
                      <a:pt x="2745324" y="1716768"/>
                    </a:cubicBezTo>
                    <a:cubicBezTo>
                      <a:pt x="2745324" y="1716768"/>
                      <a:pt x="2745324" y="1716768"/>
                      <a:pt x="2721534" y="1669175"/>
                    </a:cubicBezTo>
                    <a:cubicBezTo>
                      <a:pt x="2721534" y="1669175"/>
                      <a:pt x="2721534" y="1669175"/>
                      <a:pt x="2700718" y="1621581"/>
                    </a:cubicBezTo>
                    <a:lnTo>
                      <a:pt x="2688823" y="1565064"/>
                    </a:lnTo>
                    <a:cubicBezTo>
                      <a:pt x="2688823" y="1565064"/>
                      <a:pt x="2688823" y="1565064"/>
                      <a:pt x="2682875" y="1502598"/>
                    </a:cubicBezTo>
                    <a:cubicBezTo>
                      <a:pt x="2682875" y="1502598"/>
                      <a:pt x="2682875" y="1502598"/>
                      <a:pt x="2688823" y="1463928"/>
                    </a:cubicBezTo>
                    <a:cubicBezTo>
                      <a:pt x="2688823" y="1463928"/>
                      <a:pt x="2688823" y="1463928"/>
                      <a:pt x="2694770" y="1422284"/>
                    </a:cubicBezTo>
                    <a:cubicBezTo>
                      <a:pt x="2694770" y="1422284"/>
                      <a:pt x="2694770" y="1422284"/>
                      <a:pt x="2709639" y="1377665"/>
                    </a:cubicBezTo>
                    <a:cubicBezTo>
                      <a:pt x="2709639" y="1377665"/>
                      <a:pt x="2709639" y="1377665"/>
                      <a:pt x="2727482" y="1336021"/>
                    </a:cubicBezTo>
                    <a:cubicBezTo>
                      <a:pt x="2727482" y="1336021"/>
                      <a:pt x="2727482" y="1336021"/>
                      <a:pt x="2748298" y="1294377"/>
                    </a:cubicBezTo>
                    <a:cubicBezTo>
                      <a:pt x="2748298" y="1294377"/>
                      <a:pt x="2748298" y="1294377"/>
                      <a:pt x="2775062" y="1249758"/>
                    </a:cubicBezTo>
                    <a:cubicBezTo>
                      <a:pt x="2775062" y="1249758"/>
                      <a:pt x="2775062" y="1249758"/>
                      <a:pt x="2798852" y="1208114"/>
                    </a:cubicBezTo>
                    <a:cubicBezTo>
                      <a:pt x="2798852" y="1208114"/>
                      <a:pt x="2798852" y="1208114"/>
                      <a:pt x="2825616" y="1166470"/>
                    </a:cubicBezTo>
                    <a:cubicBezTo>
                      <a:pt x="2825616" y="1166470"/>
                      <a:pt x="2825616" y="1166470"/>
                      <a:pt x="2855354" y="1127800"/>
                    </a:cubicBezTo>
                    <a:cubicBezTo>
                      <a:pt x="2855354" y="1127800"/>
                      <a:pt x="2855354" y="1127800"/>
                      <a:pt x="2882118" y="1092105"/>
                    </a:cubicBezTo>
                    <a:cubicBezTo>
                      <a:pt x="2882118" y="1092105"/>
                      <a:pt x="2882118" y="1092105"/>
                      <a:pt x="2908882" y="1056410"/>
                    </a:cubicBezTo>
                    <a:cubicBezTo>
                      <a:pt x="2908882" y="1056410"/>
                      <a:pt x="2908882" y="1056410"/>
                      <a:pt x="2932672" y="1026664"/>
                    </a:cubicBezTo>
                    <a:cubicBezTo>
                      <a:pt x="2932672" y="1026664"/>
                      <a:pt x="2932672" y="1026664"/>
                      <a:pt x="2953488" y="999893"/>
                    </a:cubicBezTo>
                    <a:cubicBezTo>
                      <a:pt x="2953488" y="999893"/>
                      <a:pt x="2953488" y="999893"/>
                      <a:pt x="2971331" y="979071"/>
                    </a:cubicBezTo>
                    <a:cubicBezTo>
                      <a:pt x="2971331" y="979071"/>
                      <a:pt x="2971331" y="979071"/>
                      <a:pt x="2983226" y="964198"/>
                    </a:cubicBezTo>
                    <a:cubicBezTo>
                      <a:pt x="2983226" y="964198"/>
                      <a:pt x="2986200" y="964198"/>
                      <a:pt x="2986200" y="964198"/>
                    </a:cubicBezTo>
                    <a:cubicBezTo>
                      <a:pt x="2986200" y="964198"/>
                      <a:pt x="2986200" y="964198"/>
                      <a:pt x="2995121" y="955274"/>
                    </a:cubicBezTo>
                    <a:cubicBezTo>
                      <a:pt x="2995121" y="955274"/>
                      <a:pt x="2995121" y="955274"/>
                      <a:pt x="2998095" y="952300"/>
                    </a:cubicBezTo>
                    <a:cubicBezTo>
                      <a:pt x="2998095" y="949325"/>
                      <a:pt x="3001069" y="949325"/>
                      <a:pt x="3001069" y="949325"/>
                    </a:cubicBezTo>
                    <a:close/>
                    <a:moveTo>
                      <a:pt x="3140892" y="309562"/>
                    </a:moveTo>
                    <a:cubicBezTo>
                      <a:pt x="3140892" y="309562"/>
                      <a:pt x="3143863" y="309562"/>
                      <a:pt x="3143863" y="309562"/>
                    </a:cubicBezTo>
                    <a:cubicBezTo>
                      <a:pt x="3143863" y="309562"/>
                      <a:pt x="3143863" y="309562"/>
                      <a:pt x="3568701" y="734400"/>
                    </a:cubicBezTo>
                    <a:cubicBezTo>
                      <a:pt x="3568701" y="734400"/>
                      <a:pt x="3568701" y="737371"/>
                      <a:pt x="3568701" y="737371"/>
                    </a:cubicBezTo>
                    <a:cubicBezTo>
                      <a:pt x="3568701" y="737371"/>
                      <a:pt x="3568701" y="737371"/>
                      <a:pt x="3372622" y="933450"/>
                    </a:cubicBezTo>
                    <a:cubicBezTo>
                      <a:pt x="3372622" y="933450"/>
                      <a:pt x="3369651" y="933450"/>
                      <a:pt x="3369651" y="933450"/>
                    </a:cubicBezTo>
                    <a:lnTo>
                      <a:pt x="2947784" y="508612"/>
                    </a:lnTo>
                    <a:cubicBezTo>
                      <a:pt x="2944813" y="508612"/>
                      <a:pt x="2944813" y="505641"/>
                      <a:pt x="2947784" y="505641"/>
                    </a:cubicBezTo>
                    <a:cubicBezTo>
                      <a:pt x="2947784" y="505641"/>
                      <a:pt x="2947784" y="505641"/>
                      <a:pt x="3140892" y="309562"/>
                    </a:cubicBezTo>
                    <a:close/>
                    <a:moveTo>
                      <a:pt x="1726588" y="309562"/>
                    </a:moveTo>
                    <a:cubicBezTo>
                      <a:pt x="1729559" y="309562"/>
                      <a:pt x="1729559" y="309562"/>
                      <a:pt x="1729559" y="309562"/>
                    </a:cubicBezTo>
                    <a:cubicBezTo>
                      <a:pt x="1729559" y="309562"/>
                      <a:pt x="1729559" y="309562"/>
                      <a:pt x="1922667" y="505641"/>
                    </a:cubicBezTo>
                    <a:cubicBezTo>
                      <a:pt x="1925638" y="505641"/>
                      <a:pt x="1925638" y="508612"/>
                      <a:pt x="1922667" y="508612"/>
                    </a:cubicBezTo>
                    <a:cubicBezTo>
                      <a:pt x="1922667" y="508612"/>
                      <a:pt x="1922667" y="508612"/>
                      <a:pt x="1500800" y="933450"/>
                    </a:cubicBezTo>
                    <a:cubicBezTo>
                      <a:pt x="1500800" y="933450"/>
                      <a:pt x="1497829" y="933450"/>
                      <a:pt x="1497829" y="933450"/>
                    </a:cubicBezTo>
                    <a:cubicBezTo>
                      <a:pt x="1497829" y="933450"/>
                      <a:pt x="1497829" y="933450"/>
                      <a:pt x="1301750" y="737371"/>
                    </a:cubicBezTo>
                    <a:cubicBezTo>
                      <a:pt x="1301750" y="737371"/>
                      <a:pt x="1301750" y="734400"/>
                      <a:pt x="1301750" y="734400"/>
                    </a:cubicBezTo>
                    <a:cubicBezTo>
                      <a:pt x="1301750" y="734400"/>
                      <a:pt x="1301750" y="734400"/>
                      <a:pt x="1726588" y="309562"/>
                    </a:cubicBezTo>
                    <a:close/>
                    <a:moveTo>
                      <a:pt x="3465315" y="0"/>
                    </a:moveTo>
                    <a:cubicBezTo>
                      <a:pt x="3465315" y="0"/>
                      <a:pt x="3465315" y="0"/>
                      <a:pt x="4867474" y="0"/>
                    </a:cubicBezTo>
                    <a:cubicBezTo>
                      <a:pt x="4870451" y="0"/>
                      <a:pt x="4870451" y="0"/>
                      <a:pt x="4870451" y="0"/>
                    </a:cubicBezTo>
                    <a:cubicBezTo>
                      <a:pt x="4870451" y="2972"/>
                      <a:pt x="4870451" y="2972"/>
                      <a:pt x="4870451" y="2972"/>
                    </a:cubicBezTo>
                    <a:cubicBezTo>
                      <a:pt x="4870451" y="2972"/>
                      <a:pt x="4870451" y="2972"/>
                      <a:pt x="4456651" y="416128"/>
                    </a:cubicBezTo>
                    <a:cubicBezTo>
                      <a:pt x="4456651" y="419100"/>
                      <a:pt x="4456651" y="419100"/>
                      <a:pt x="4456651" y="419100"/>
                    </a:cubicBezTo>
                    <a:cubicBezTo>
                      <a:pt x="4456651" y="419100"/>
                      <a:pt x="4456651" y="419100"/>
                      <a:pt x="3757060" y="419100"/>
                    </a:cubicBezTo>
                    <a:cubicBezTo>
                      <a:pt x="3757060" y="419100"/>
                      <a:pt x="3757060" y="419100"/>
                      <a:pt x="3757060" y="416128"/>
                    </a:cubicBezTo>
                    <a:cubicBezTo>
                      <a:pt x="3757060" y="416128"/>
                      <a:pt x="3757060" y="416128"/>
                      <a:pt x="3462338" y="124838"/>
                    </a:cubicBezTo>
                    <a:cubicBezTo>
                      <a:pt x="3462338" y="124838"/>
                      <a:pt x="3462338" y="124838"/>
                      <a:pt x="3462338" y="121866"/>
                    </a:cubicBezTo>
                    <a:cubicBezTo>
                      <a:pt x="3462338" y="121866"/>
                      <a:pt x="3462338" y="121866"/>
                      <a:pt x="3462338" y="2972"/>
                    </a:cubicBezTo>
                    <a:cubicBezTo>
                      <a:pt x="3462338" y="0"/>
                      <a:pt x="3462338" y="0"/>
                      <a:pt x="3465315" y="0"/>
                    </a:cubicBezTo>
                    <a:close/>
                    <a:moveTo>
                      <a:pt x="0" y="0"/>
                    </a:moveTo>
                    <a:cubicBezTo>
                      <a:pt x="0" y="0"/>
                      <a:pt x="0" y="0"/>
                      <a:pt x="2977" y="0"/>
                    </a:cubicBezTo>
                    <a:cubicBezTo>
                      <a:pt x="2977" y="0"/>
                      <a:pt x="2977" y="0"/>
                      <a:pt x="1405136" y="0"/>
                    </a:cubicBezTo>
                    <a:cubicBezTo>
                      <a:pt x="1408113" y="0"/>
                      <a:pt x="1408113" y="0"/>
                      <a:pt x="1408113" y="2972"/>
                    </a:cubicBezTo>
                    <a:cubicBezTo>
                      <a:pt x="1408113" y="2972"/>
                      <a:pt x="1408113" y="2972"/>
                      <a:pt x="1408113" y="121866"/>
                    </a:cubicBezTo>
                    <a:cubicBezTo>
                      <a:pt x="1408113" y="124838"/>
                      <a:pt x="1408113" y="124838"/>
                      <a:pt x="1408113" y="124838"/>
                    </a:cubicBezTo>
                    <a:cubicBezTo>
                      <a:pt x="1408113" y="124838"/>
                      <a:pt x="1408113" y="124838"/>
                      <a:pt x="1113392" y="416128"/>
                    </a:cubicBezTo>
                    <a:cubicBezTo>
                      <a:pt x="1113392" y="419100"/>
                      <a:pt x="1113392" y="419100"/>
                      <a:pt x="1113392" y="419100"/>
                    </a:cubicBezTo>
                    <a:cubicBezTo>
                      <a:pt x="1113392" y="419100"/>
                      <a:pt x="1113392" y="419100"/>
                      <a:pt x="413801" y="419100"/>
                    </a:cubicBezTo>
                    <a:cubicBezTo>
                      <a:pt x="413801" y="419100"/>
                      <a:pt x="413801" y="419100"/>
                      <a:pt x="413801" y="416128"/>
                    </a:cubicBezTo>
                    <a:cubicBezTo>
                      <a:pt x="413801" y="416128"/>
                      <a:pt x="413801" y="416128"/>
                      <a:pt x="0" y="2972"/>
                    </a:cubicBezTo>
                    <a:cubicBezTo>
                      <a:pt x="0" y="2972"/>
                      <a:pt x="0" y="2972"/>
                      <a:pt x="0" y="0"/>
                    </a:cubicBezTo>
                    <a:close/>
                  </a:path>
                </a:pathLst>
              </a:custGeom>
              <a:solidFill>
                <a:srgbClr val="E71C5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3173413" y="704850"/>
                <a:ext cx="5838825" cy="5441951"/>
              </a:xfrm>
              <a:custGeom>
                <a:avLst/>
                <a:gdLst>
                  <a:gd name="connsiteX0" fmla="*/ 835620 w 5838825"/>
                  <a:gd name="connsiteY0" fmla="*/ 2849563 h 5441951"/>
                  <a:gd name="connsiteX1" fmla="*/ 859432 w 5838825"/>
                  <a:gd name="connsiteY1" fmla="*/ 2852539 h 5441951"/>
                  <a:gd name="connsiteX2" fmla="*/ 877292 w 5838825"/>
                  <a:gd name="connsiteY2" fmla="*/ 2864445 h 5441951"/>
                  <a:gd name="connsiteX3" fmla="*/ 880268 w 5838825"/>
                  <a:gd name="connsiteY3" fmla="*/ 2864445 h 5441951"/>
                  <a:gd name="connsiteX4" fmla="*/ 892175 w 5838825"/>
                  <a:gd name="connsiteY4" fmla="*/ 2885279 h 5441951"/>
                  <a:gd name="connsiteX5" fmla="*/ 895151 w 5838825"/>
                  <a:gd name="connsiteY5" fmla="*/ 2885279 h 5441951"/>
                  <a:gd name="connsiteX6" fmla="*/ 898128 w 5838825"/>
                  <a:gd name="connsiteY6" fmla="*/ 2909090 h 5441951"/>
                  <a:gd name="connsiteX7" fmla="*/ 898128 w 5838825"/>
                  <a:gd name="connsiteY7" fmla="*/ 5316945 h 5441951"/>
                  <a:gd name="connsiteX8" fmla="*/ 4934347 w 5838825"/>
                  <a:gd name="connsiteY8" fmla="*/ 5316945 h 5441951"/>
                  <a:gd name="connsiteX9" fmla="*/ 4934347 w 5838825"/>
                  <a:gd name="connsiteY9" fmla="*/ 2915043 h 5441951"/>
                  <a:gd name="connsiteX10" fmla="*/ 4940300 w 5838825"/>
                  <a:gd name="connsiteY10" fmla="*/ 2891232 h 5441951"/>
                  <a:gd name="connsiteX11" fmla="*/ 4952206 w 5838825"/>
                  <a:gd name="connsiteY11" fmla="*/ 2873374 h 5441951"/>
                  <a:gd name="connsiteX12" fmla="*/ 4952206 w 5838825"/>
                  <a:gd name="connsiteY12" fmla="*/ 2870397 h 5441951"/>
                  <a:gd name="connsiteX13" fmla="*/ 4970065 w 5838825"/>
                  <a:gd name="connsiteY13" fmla="*/ 2858492 h 5441951"/>
                  <a:gd name="connsiteX14" fmla="*/ 4973042 w 5838825"/>
                  <a:gd name="connsiteY14" fmla="*/ 2858492 h 5441951"/>
                  <a:gd name="connsiteX15" fmla="*/ 4996854 w 5838825"/>
                  <a:gd name="connsiteY15" fmla="*/ 2852539 h 5441951"/>
                  <a:gd name="connsiteX16" fmla="*/ 4999831 w 5838825"/>
                  <a:gd name="connsiteY16" fmla="*/ 2852539 h 5441951"/>
                  <a:gd name="connsiteX17" fmla="*/ 5020667 w 5838825"/>
                  <a:gd name="connsiteY17" fmla="*/ 2858492 h 5441951"/>
                  <a:gd name="connsiteX18" fmla="*/ 5023643 w 5838825"/>
                  <a:gd name="connsiteY18" fmla="*/ 2858492 h 5441951"/>
                  <a:gd name="connsiteX19" fmla="*/ 5041503 w 5838825"/>
                  <a:gd name="connsiteY19" fmla="*/ 2870397 h 5441951"/>
                  <a:gd name="connsiteX20" fmla="*/ 5041503 w 5838825"/>
                  <a:gd name="connsiteY20" fmla="*/ 2873374 h 5441951"/>
                  <a:gd name="connsiteX21" fmla="*/ 5053409 w 5838825"/>
                  <a:gd name="connsiteY21" fmla="*/ 2891232 h 5441951"/>
                  <a:gd name="connsiteX22" fmla="*/ 5059362 w 5838825"/>
                  <a:gd name="connsiteY22" fmla="*/ 2915043 h 5441951"/>
                  <a:gd name="connsiteX23" fmla="*/ 5059362 w 5838825"/>
                  <a:gd name="connsiteY23" fmla="*/ 5379448 h 5441951"/>
                  <a:gd name="connsiteX24" fmla="*/ 5053409 w 5838825"/>
                  <a:gd name="connsiteY24" fmla="*/ 5403259 h 5441951"/>
                  <a:gd name="connsiteX25" fmla="*/ 5041503 w 5838825"/>
                  <a:gd name="connsiteY25" fmla="*/ 5421117 h 5441951"/>
                  <a:gd name="connsiteX26" fmla="*/ 5041503 w 5838825"/>
                  <a:gd name="connsiteY26" fmla="*/ 5424093 h 5441951"/>
                  <a:gd name="connsiteX27" fmla="*/ 5023643 w 5838825"/>
                  <a:gd name="connsiteY27" fmla="*/ 5435998 h 5441951"/>
                  <a:gd name="connsiteX28" fmla="*/ 5020667 w 5838825"/>
                  <a:gd name="connsiteY28" fmla="*/ 5435998 h 5441951"/>
                  <a:gd name="connsiteX29" fmla="*/ 4999831 w 5838825"/>
                  <a:gd name="connsiteY29" fmla="*/ 5441951 h 5441951"/>
                  <a:gd name="connsiteX30" fmla="*/ 835620 w 5838825"/>
                  <a:gd name="connsiteY30" fmla="*/ 5441951 h 5441951"/>
                  <a:gd name="connsiteX31" fmla="*/ 811807 w 5838825"/>
                  <a:gd name="connsiteY31" fmla="*/ 5435998 h 5441951"/>
                  <a:gd name="connsiteX32" fmla="*/ 793948 w 5838825"/>
                  <a:gd name="connsiteY32" fmla="*/ 5424093 h 5441951"/>
                  <a:gd name="connsiteX33" fmla="*/ 790972 w 5838825"/>
                  <a:gd name="connsiteY33" fmla="*/ 5424093 h 5441951"/>
                  <a:gd name="connsiteX34" fmla="*/ 779065 w 5838825"/>
                  <a:gd name="connsiteY34" fmla="*/ 5403259 h 5441951"/>
                  <a:gd name="connsiteX35" fmla="*/ 773112 w 5838825"/>
                  <a:gd name="connsiteY35" fmla="*/ 5379448 h 5441951"/>
                  <a:gd name="connsiteX36" fmla="*/ 773112 w 5838825"/>
                  <a:gd name="connsiteY36" fmla="*/ 2909090 h 5441951"/>
                  <a:gd name="connsiteX37" fmla="*/ 779065 w 5838825"/>
                  <a:gd name="connsiteY37" fmla="*/ 2885279 h 5441951"/>
                  <a:gd name="connsiteX38" fmla="*/ 790972 w 5838825"/>
                  <a:gd name="connsiteY38" fmla="*/ 2864445 h 5441951"/>
                  <a:gd name="connsiteX39" fmla="*/ 793948 w 5838825"/>
                  <a:gd name="connsiteY39" fmla="*/ 2864445 h 5441951"/>
                  <a:gd name="connsiteX40" fmla="*/ 811807 w 5838825"/>
                  <a:gd name="connsiteY40" fmla="*/ 2852539 h 5441951"/>
                  <a:gd name="connsiteX41" fmla="*/ 835620 w 5838825"/>
                  <a:gd name="connsiteY41" fmla="*/ 2849563 h 5441951"/>
                  <a:gd name="connsiteX42" fmla="*/ 2357437 w 5838825"/>
                  <a:gd name="connsiteY42" fmla="*/ 2601913 h 5441951"/>
                  <a:gd name="connsiteX43" fmla="*/ 2324100 w 5838825"/>
                  <a:gd name="connsiteY43" fmla="*/ 2643188 h 5441951"/>
                  <a:gd name="connsiteX44" fmla="*/ 2290762 w 5838825"/>
                  <a:gd name="connsiteY44" fmla="*/ 2687638 h 5441951"/>
                  <a:gd name="connsiteX45" fmla="*/ 2259012 w 5838825"/>
                  <a:gd name="connsiteY45" fmla="*/ 2733676 h 5441951"/>
                  <a:gd name="connsiteX46" fmla="*/ 2235200 w 5838825"/>
                  <a:gd name="connsiteY46" fmla="*/ 2778126 h 5441951"/>
                  <a:gd name="connsiteX47" fmla="*/ 2208212 w 5838825"/>
                  <a:gd name="connsiteY47" fmla="*/ 2822576 h 5441951"/>
                  <a:gd name="connsiteX48" fmla="*/ 2190750 w 5838825"/>
                  <a:gd name="connsiteY48" fmla="*/ 2863851 h 5441951"/>
                  <a:gd name="connsiteX49" fmla="*/ 2171700 w 5838825"/>
                  <a:gd name="connsiteY49" fmla="*/ 2901951 h 5441951"/>
                  <a:gd name="connsiteX50" fmla="*/ 2163762 w 5838825"/>
                  <a:gd name="connsiteY50" fmla="*/ 2938463 h 5441951"/>
                  <a:gd name="connsiteX51" fmla="*/ 2160587 w 5838825"/>
                  <a:gd name="connsiteY51" fmla="*/ 2971801 h 5441951"/>
                  <a:gd name="connsiteX52" fmla="*/ 2163762 w 5838825"/>
                  <a:gd name="connsiteY52" fmla="*/ 3019426 h 5441951"/>
                  <a:gd name="connsiteX53" fmla="*/ 2171700 w 5838825"/>
                  <a:gd name="connsiteY53" fmla="*/ 3057526 h 5441951"/>
                  <a:gd name="connsiteX54" fmla="*/ 2190750 w 5838825"/>
                  <a:gd name="connsiteY54" fmla="*/ 3092451 h 5441951"/>
                  <a:gd name="connsiteX55" fmla="*/ 2211387 w 5838825"/>
                  <a:gd name="connsiteY55" fmla="*/ 3122614 h 5441951"/>
                  <a:gd name="connsiteX56" fmla="*/ 2235200 w 5838825"/>
                  <a:gd name="connsiteY56" fmla="*/ 3146426 h 5441951"/>
                  <a:gd name="connsiteX57" fmla="*/ 2259012 w 5838825"/>
                  <a:gd name="connsiteY57" fmla="*/ 3167064 h 5441951"/>
                  <a:gd name="connsiteX58" fmla="*/ 2290762 w 5838825"/>
                  <a:gd name="connsiteY58" fmla="*/ 3176589 h 5441951"/>
                  <a:gd name="connsiteX59" fmla="*/ 2320925 w 5838825"/>
                  <a:gd name="connsiteY59" fmla="*/ 3187701 h 5441951"/>
                  <a:gd name="connsiteX60" fmla="*/ 2351087 w 5838825"/>
                  <a:gd name="connsiteY60" fmla="*/ 3187701 h 5441951"/>
                  <a:gd name="connsiteX61" fmla="*/ 2398712 w 5838825"/>
                  <a:gd name="connsiteY61" fmla="*/ 3186114 h 5441951"/>
                  <a:gd name="connsiteX62" fmla="*/ 2436812 w 5838825"/>
                  <a:gd name="connsiteY62" fmla="*/ 3176589 h 5441951"/>
                  <a:gd name="connsiteX63" fmla="*/ 2470150 w 5838825"/>
                  <a:gd name="connsiteY63" fmla="*/ 3159126 h 5441951"/>
                  <a:gd name="connsiteX64" fmla="*/ 2500312 w 5838825"/>
                  <a:gd name="connsiteY64" fmla="*/ 3135314 h 5441951"/>
                  <a:gd name="connsiteX65" fmla="*/ 2520950 w 5838825"/>
                  <a:gd name="connsiteY65" fmla="*/ 3101976 h 5441951"/>
                  <a:gd name="connsiteX66" fmla="*/ 2532062 w 5838825"/>
                  <a:gd name="connsiteY66" fmla="*/ 3067051 h 5441951"/>
                  <a:gd name="connsiteX67" fmla="*/ 2544762 w 5838825"/>
                  <a:gd name="connsiteY67" fmla="*/ 3021013 h 5441951"/>
                  <a:gd name="connsiteX68" fmla="*/ 2547937 w 5838825"/>
                  <a:gd name="connsiteY68" fmla="*/ 2971801 h 5441951"/>
                  <a:gd name="connsiteX69" fmla="*/ 2544762 w 5838825"/>
                  <a:gd name="connsiteY69" fmla="*/ 2928938 h 5441951"/>
                  <a:gd name="connsiteX70" fmla="*/ 2528887 w 5838825"/>
                  <a:gd name="connsiteY70" fmla="*/ 2884488 h 5441951"/>
                  <a:gd name="connsiteX71" fmla="*/ 2511425 w 5838825"/>
                  <a:gd name="connsiteY71" fmla="*/ 2836863 h 5441951"/>
                  <a:gd name="connsiteX72" fmla="*/ 2487612 w 5838825"/>
                  <a:gd name="connsiteY72" fmla="*/ 2786063 h 5441951"/>
                  <a:gd name="connsiteX73" fmla="*/ 2457450 w 5838825"/>
                  <a:gd name="connsiteY73" fmla="*/ 2741613 h 5441951"/>
                  <a:gd name="connsiteX74" fmla="*/ 2425700 w 5838825"/>
                  <a:gd name="connsiteY74" fmla="*/ 2690813 h 5441951"/>
                  <a:gd name="connsiteX75" fmla="*/ 2392362 w 5838825"/>
                  <a:gd name="connsiteY75" fmla="*/ 2643188 h 5441951"/>
                  <a:gd name="connsiteX76" fmla="*/ 2351282 w 5838825"/>
                  <a:gd name="connsiteY76" fmla="*/ 2420938 h 5441951"/>
                  <a:gd name="connsiteX77" fmla="*/ 2354263 w 5838825"/>
                  <a:gd name="connsiteY77" fmla="*/ 2420938 h 5441951"/>
                  <a:gd name="connsiteX78" fmla="*/ 2357243 w 5838825"/>
                  <a:gd name="connsiteY78" fmla="*/ 2423911 h 5441951"/>
                  <a:gd name="connsiteX79" fmla="*/ 2369164 w 5838825"/>
                  <a:gd name="connsiteY79" fmla="*/ 2432831 h 5441951"/>
                  <a:gd name="connsiteX80" fmla="*/ 2387046 w 5838825"/>
                  <a:gd name="connsiteY80" fmla="*/ 2450671 h 5441951"/>
                  <a:gd name="connsiteX81" fmla="*/ 2404928 w 5838825"/>
                  <a:gd name="connsiteY81" fmla="*/ 2474457 h 5441951"/>
                  <a:gd name="connsiteX82" fmla="*/ 2455593 w 5838825"/>
                  <a:gd name="connsiteY82" fmla="*/ 2530948 h 5441951"/>
                  <a:gd name="connsiteX83" fmla="*/ 2482416 w 5838825"/>
                  <a:gd name="connsiteY83" fmla="*/ 2566627 h 5441951"/>
                  <a:gd name="connsiteX84" fmla="*/ 2542022 w 5838825"/>
                  <a:gd name="connsiteY84" fmla="*/ 2643931 h 5441951"/>
                  <a:gd name="connsiteX85" fmla="*/ 2568845 w 5838825"/>
                  <a:gd name="connsiteY85" fmla="*/ 2688530 h 5441951"/>
                  <a:gd name="connsiteX86" fmla="*/ 2595668 w 5838825"/>
                  <a:gd name="connsiteY86" fmla="*/ 2736102 h 5441951"/>
                  <a:gd name="connsiteX87" fmla="*/ 2619510 w 5838825"/>
                  <a:gd name="connsiteY87" fmla="*/ 2780701 h 5441951"/>
                  <a:gd name="connsiteX88" fmla="*/ 2640372 w 5838825"/>
                  <a:gd name="connsiteY88" fmla="*/ 2828273 h 5441951"/>
                  <a:gd name="connsiteX89" fmla="*/ 2655274 w 5838825"/>
                  <a:gd name="connsiteY89" fmla="*/ 2875844 h 5441951"/>
                  <a:gd name="connsiteX90" fmla="*/ 2664215 w 5838825"/>
                  <a:gd name="connsiteY90" fmla="*/ 2923416 h 5441951"/>
                  <a:gd name="connsiteX91" fmla="*/ 2670175 w 5838825"/>
                  <a:gd name="connsiteY91" fmla="*/ 2970988 h 5441951"/>
                  <a:gd name="connsiteX92" fmla="*/ 2664215 w 5838825"/>
                  <a:gd name="connsiteY92" fmla="*/ 3033426 h 5441951"/>
                  <a:gd name="connsiteX93" fmla="*/ 2658254 w 5838825"/>
                  <a:gd name="connsiteY93" fmla="*/ 3086945 h 5441951"/>
                  <a:gd name="connsiteX94" fmla="*/ 2640372 w 5838825"/>
                  <a:gd name="connsiteY94" fmla="*/ 3137490 h 5441951"/>
                  <a:gd name="connsiteX95" fmla="*/ 2616530 w 5838825"/>
                  <a:gd name="connsiteY95" fmla="*/ 3179115 h 5441951"/>
                  <a:gd name="connsiteX96" fmla="*/ 2589707 w 5838825"/>
                  <a:gd name="connsiteY96" fmla="*/ 3214794 h 5441951"/>
                  <a:gd name="connsiteX97" fmla="*/ 2556924 w 5838825"/>
                  <a:gd name="connsiteY97" fmla="*/ 3244527 h 5441951"/>
                  <a:gd name="connsiteX98" fmla="*/ 2521160 w 5838825"/>
                  <a:gd name="connsiteY98" fmla="*/ 3268313 h 5441951"/>
                  <a:gd name="connsiteX99" fmla="*/ 2485396 w 5838825"/>
                  <a:gd name="connsiteY99" fmla="*/ 3286152 h 5441951"/>
                  <a:gd name="connsiteX100" fmla="*/ 2443672 w 5838825"/>
                  <a:gd name="connsiteY100" fmla="*/ 3301018 h 5441951"/>
                  <a:gd name="connsiteX101" fmla="*/ 2398967 w 5838825"/>
                  <a:gd name="connsiteY101" fmla="*/ 3306965 h 5441951"/>
                  <a:gd name="connsiteX102" fmla="*/ 2354263 w 5838825"/>
                  <a:gd name="connsiteY102" fmla="*/ 3309938 h 5441951"/>
                  <a:gd name="connsiteX103" fmla="*/ 2303598 w 5838825"/>
                  <a:gd name="connsiteY103" fmla="*/ 3306965 h 5441951"/>
                  <a:gd name="connsiteX104" fmla="*/ 2255913 w 5838825"/>
                  <a:gd name="connsiteY104" fmla="*/ 3295072 h 5441951"/>
                  <a:gd name="connsiteX105" fmla="*/ 2214188 w 5838825"/>
                  <a:gd name="connsiteY105" fmla="*/ 3274259 h 5441951"/>
                  <a:gd name="connsiteX106" fmla="*/ 2172464 w 5838825"/>
                  <a:gd name="connsiteY106" fmla="*/ 3250473 h 5441951"/>
                  <a:gd name="connsiteX107" fmla="*/ 2133720 w 5838825"/>
                  <a:gd name="connsiteY107" fmla="*/ 3220741 h 5441951"/>
                  <a:gd name="connsiteX108" fmla="*/ 2100937 w 5838825"/>
                  <a:gd name="connsiteY108" fmla="*/ 3182089 h 5441951"/>
                  <a:gd name="connsiteX109" fmla="*/ 2074114 w 5838825"/>
                  <a:gd name="connsiteY109" fmla="*/ 3137490 h 5441951"/>
                  <a:gd name="connsiteX110" fmla="*/ 2056232 w 5838825"/>
                  <a:gd name="connsiteY110" fmla="*/ 3086945 h 5441951"/>
                  <a:gd name="connsiteX111" fmla="*/ 2041331 w 5838825"/>
                  <a:gd name="connsiteY111" fmla="*/ 3030453 h 5441951"/>
                  <a:gd name="connsiteX112" fmla="*/ 2038350 w 5838825"/>
                  <a:gd name="connsiteY112" fmla="*/ 2970988 h 5441951"/>
                  <a:gd name="connsiteX113" fmla="*/ 2041331 w 5838825"/>
                  <a:gd name="connsiteY113" fmla="*/ 2932336 h 5441951"/>
                  <a:gd name="connsiteX114" fmla="*/ 2047291 w 5838825"/>
                  <a:gd name="connsiteY114" fmla="*/ 2890711 h 5441951"/>
                  <a:gd name="connsiteX115" fmla="*/ 2065173 w 5838825"/>
                  <a:gd name="connsiteY115" fmla="*/ 2846112 h 5441951"/>
                  <a:gd name="connsiteX116" fmla="*/ 2080075 w 5838825"/>
                  <a:gd name="connsiteY116" fmla="*/ 2804487 h 5441951"/>
                  <a:gd name="connsiteX117" fmla="*/ 2103917 w 5838825"/>
                  <a:gd name="connsiteY117" fmla="*/ 2762861 h 5441951"/>
                  <a:gd name="connsiteX118" fmla="*/ 2130740 w 5838825"/>
                  <a:gd name="connsiteY118" fmla="*/ 2718263 h 5441951"/>
                  <a:gd name="connsiteX119" fmla="*/ 2154582 w 5838825"/>
                  <a:gd name="connsiteY119" fmla="*/ 2676637 h 5441951"/>
                  <a:gd name="connsiteX120" fmla="*/ 2181405 w 5838825"/>
                  <a:gd name="connsiteY120" fmla="*/ 2637985 h 5441951"/>
                  <a:gd name="connsiteX121" fmla="*/ 2211208 w 5838825"/>
                  <a:gd name="connsiteY121" fmla="*/ 2596360 h 5441951"/>
                  <a:gd name="connsiteX122" fmla="*/ 2235050 w 5838825"/>
                  <a:gd name="connsiteY122" fmla="*/ 2560681 h 5441951"/>
                  <a:gd name="connsiteX123" fmla="*/ 2261873 w 5838825"/>
                  <a:gd name="connsiteY123" fmla="*/ 2527975 h 5441951"/>
                  <a:gd name="connsiteX124" fmla="*/ 2285716 w 5838825"/>
                  <a:gd name="connsiteY124" fmla="*/ 2495269 h 5441951"/>
                  <a:gd name="connsiteX125" fmla="*/ 2306578 w 5838825"/>
                  <a:gd name="connsiteY125" fmla="*/ 2471483 h 5441951"/>
                  <a:gd name="connsiteX126" fmla="*/ 2327440 w 5838825"/>
                  <a:gd name="connsiteY126" fmla="*/ 2450671 h 5441951"/>
                  <a:gd name="connsiteX127" fmla="*/ 2339361 w 5838825"/>
                  <a:gd name="connsiteY127" fmla="*/ 2435804 h 5441951"/>
                  <a:gd name="connsiteX128" fmla="*/ 2339361 w 5838825"/>
                  <a:gd name="connsiteY128" fmla="*/ 2432831 h 5441951"/>
                  <a:gd name="connsiteX129" fmla="*/ 2348302 w 5838825"/>
                  <a:gd name="connsiteY129" fmla="*/ 2426885 h 5441951"/>
                  <a:gd name="connsiteX130" fmla="*/ 2351282 w 5838825"/>
                  <a:gd name="connsiteY130" fmla="*/ 2423911 h 5441951"/>
                  <a:gd name="connsiteX131" fmla="*/ 2351282 w 5838825"/>
                  <a:gd name="connsiteY131" fmla="*/ 2420938 h 5441951"/>
                  <a:gd name="connsiteX132" fmla="*/ 1351112 w 5838825"/>
                  <a:gd name="connsiteY132" fmla="*/ 0 h 5441951"/>
                  <a:gd name="connsiteX133" fmla="*/ 1354088 w 5838825"/>
                  <a:gd name="connsiteY133" fmla="*/ 0 h 5441951"/>
                  <a:gd name="connsiteX134" fmla="*/ 1374920 w 5838825"/>
                  <a:gd name="connsiteY134" fmla="*/ 5956 h 5441951"/>
                  <a:gd name="connsiteX135" fmla="*/ 1395752 w 5838825"/>
                  <a:gd name="connsiteY135" fmla="*/ 17869 h 5441951"/>
                  <a:gd name="connsiteX136" fmla="*/ 2142732 w 5838825"/>
                  <a:gd name="connsiteY136" fmla="*/ 765398 h 5441951"/>
                  <a:gd name="connsiteX137" fmla="*/ 2154636 w 5838825"/>
                  <a:gd name="connsiteY137" fmla="*/ 786246 h 5441951"/>
                  <a:gd name="connsiteX138" fmla="*/ 2157612 w 5838825"/>
                  <a:gd name="connsiteY138" fmla="*/ 789224 h 5441951"/>
                  <a:gd name="connsiteX139" fmla="*/ 2160588 w 5838825"/>
                  <a:gd name="connsiteY139" fmla="*/ 810071 h 5441951"/>
                  <a:gd name="connsiteX140" fmla="*/ 2160588 w 5838825"/>
                  <a:gd name="connsiteY140" fmla="*/ 1676728 h 5441951"/>
                  <a:gd name="connsiteX141" fmla="*/ 2157612 w 5838825"/>
                  <a:gd name="connsiteY141" fmla="*/ 1703532 h 5441951"/>
                  <a:gd name="connsiteX142" fmla="*/ 2154636 w 5838825"/>
                  <a:gd name="connsiteY142" fmla="*/ 1703532 h 5441951"/>
                  <a:gd name="connsiteX143" fmla="*/ 2142732 w 5838825"/>
                  <a:gd name="connsiteY143" fmla="*/ 1724379 h 5441951"/>
                  <a:gd name="connsiteX144" fmla="*/ 1723114 w 5838825"/>
                  <a:gd name="connsiteY144" fmla="*/ 2141327 h 5441951"/>
                  <a:gd name="connsiteX145" fmla="*/ 1705258 w 5838825"/>
                  <a:gd name="connsiteY145" fmla="*/ 2156218 h 5441951"/>
                  <a:gd name="connsiteX146" fmla="*/ 1702282 w 5838825"/>
                  <a:gd name="connsiteY146" fmla="*/ 2156218 h 5441951"/>
                  <a:gd name="connsiteX147" fmla="*/ 1678474 w 5838825"/>
                  <a:gd name="connsiteY147" fmla="*/ 2162175 h 5441951"/>
                  <a:gd name="connsiteX148" fmla="*/ 806501 w 5838825"/>
                  <a:gd name="connsiteY148" fmla="*/ 2162175 h 5441951"/>
                  <a:gd name="connsiteX149" fmla="*/ 782693 w 5838825"/>
                  <a:gd name="connsiteY149" fmla="*/ 2156218 h 5441951"/>
                  <a:gd name="connsiteX150" fmla="*/ 779716 w 5838825"/>
                  <a:gd name="connsiteY150" fmla="*/ 2156218 h 5441951"/>
                  <a:gd name="connsiteX151" fmla="*/ 761860 w 5838825"/>
                  <a:gd name="connsiteY151" fmla="*/ 2141327 h 5441951"/>
                  <a:gd name="connsiteX152" fmla="*/ 17856 w 5838825"/>
                  <a:gd name="connsiteY152" fmla="*/ 1396777 h 5441951"/>
                  <a:gd name="connsiteX153" fmla="*/ 5952 w 5838825"/>
                  <a:gd name="connsiteY153" fmla="*/ 1375930 h 5441951"/>
                  <a:gd name="connsiteX154" fmla="*/ 0 w 5838825"/>
                  <a:gd name="connsiteY154" fmla="*/ 1355082 h 5441951"/>
                  <a:gd name="connsiteX155" fmla="*/ 0 w 5838825"/>
                  <a:gd name="connsiteY155" fmla="*/ 1352104 h 5441951"/>
                  <a:gd name="connsiteX156" fmla="*/ 5952 w 5838825"/>
                  <a:gd name="connsiteY156" fmla="*/ 1331257 h 5441951"/>
                  <a:gd name="connsiteX157" fmla="*/ 17856 w 5838825"/>
                  <a:gd name="connsiteY157" fmla="*/ 1307431 h 5441951"/>
                  <a:gd name="connsiteX158" fmla="*/ 20832 w 5838825"/>
                  <a:gd name="connsiteY158" fmla="*/ 1307431 h 5441951"/>
                  <a:gd name="connsiteX159" fmla="*/ 38688 w 5838825"/>
                  <a:gd name="connsiteY159" fmla="*/ 1295518 h 5441951"/>
                  <a:gd name="connsiteX160" fmla="*/ 62496 w 5838825"/>
                  <a:gd name="connsiteY160" fmla="*/ 1289562 h 5441951"/>
                  <a:gd name="connsiteX161" fmla="*/ 86304 w 5838825"/>
                  <a:gd name="connsiteY161" fmla="*/ 1295518 h 5441951"/>
                  <a:gd name="connsiteX162" fmla="*/ 89281 w 5838825"/>
                  <a:gd name="connsiteY162" fmla="*/ 1295518 h 5441951"/>
                  <a:gd name="connsiteX163" fmla="*/ 107136 w 5838825"/>
                  <a:gd name="connsiteY163" fmla="*/ 1307431 h 5441951"/>
                  <a:gd name="connsiteX164" fmla="*/ 833285 w 5838825"/>
                  <a:gd name="connsiteY164" fmla="*/ 2037090 h 5441951"/>
                  <a:gd name="connsiteX165" fmla="*/ 1654665 w 5838825"/>
                  <a:gd name="connsiteY165" fmla="*/ 2037090 h 5441951"/>
                  <a:gd name="connsiteX166" fmla="*/ 2035595 w 5838825"/>
                  <a:gd name="connsiteY166" fmla="*/ 1652902 h 5441951"/>
                  <a:gd name="connsiteX167" fmla="*/ 2035595 w 5838825"/>
                  <a:gd name="connsiteY167" fmla="*/ 836875 h 5441951"/>
                  <a:gd name="connsiteX168" fmla="*/ 1306471 w 5838825"/>
                  <a:gd name="connsiteY168" fmla="*/ 107215 h 5441951"/>
                  <a:gd name="connsiteX169" fmla="*/ 1291591 w 5838825"/>
                  <a:gd name="connsiteY169" fmla="*/ 89346 h 5441951"/>
                  <a:gd name="connsiteX170" fmla="*/ 1291591 w 5838825"/>
                  <a:gd name="connsiteY170" fmla="*/ 86368 h 5441951"/>
                  <a:gd name="connsiteX171" fmla="*/ 1288615 w 5838825"/>
                  <a:gd name="connsiteY171" fmla="*/ 62542 h 5441951"/>
                  <a:gd name="connsiteX172" fmla="*/ 1291591 w 5838825"/>
                  <a:gd name="connsiteY172" fmla="*/ 38717 h 5441951"/>
                  <a:gd name="connsiteX173" fmla="*/ 1303495 w 5838825"/>
                  <a:gd name="connsiteY173" fmla="*/ 20848 h 5441951"/>
                  <a:gd name="connsiteX174" fmla="*/ 1306471 w 5838825"/>
                  <a:gd name="connsiteY174" fmla="*/ 17869 h 5441951"/>
                  <a:gd name="connsiteX175" fmla="*/ 1327304 w 5838825"/>
                  <a:gd name="connsiteY175" fmla="*/ 5956 h 5441951"/>
                  <a:gd name="connsiteX176" fmla="*/ 1351112 w 5838825"/>
                  <a:gd name="connsiteY176" fmla="*/ 0 h 5441951"/>
                  <a:gd name="connsiteX177" fmla="*/ 4484738 w 5838825"/>
                  <a:gd name="connsiteY177" fmla="*/ 0 h 5441951"/>
                  <a:gd name="connsiteX178" fmla="*/ 4487714 w 5838825"/>
                  <a:gd name="connsiteY178" fmla="*/ 0 h 5441951"/>
                  <a:gd name="connsiteX179" fmla="*/ 4511522 w 5838825"/>
                  <a:gd name="connsiteY179" fmla="*/ 5956 h 5441951"/>
                  <a:gd name="connsiteX180" fmla="*/ 4532354 w 5838825"/>
                  <a:gd name="connsiteY180" fmla="*/ 17869 h 5441951"/>
                  <a:gd name="connsiteX181" fmla="*/ 4535330 w 5838825"/>
                  <a:gd name="connsiteY181" fmla="*/ 20847 h 5441951"/>
                  <a:gd name="connsiteX182" fmla="*/ 4547234 w 5838825"/>
                  <a:gd name="connsiteY182" fmla="*/ 38717 h 5441951"/>
                  <a:gd name="connsiteX183" fmla="*/ 4550210 w 5838825"/>
                  <a:gd name="connsiteY183" fmla="*/ 62542 h 5441951"/>
                  <a:gd name="connsiteX184" fmla="*/ 4547234 w 5838825"/>
                  <a:gd name="connsiteY184" fmla="*/ 86368 h 5441951"/>
                  <a:gd name="connsiteX185" fmla="*/ 4547234 w 5838825"/>
                  <a:gd name="connsiteY185" fmla="*/ 89346 h 5441951"/>
                  <a:gd name="connsiteX186" fmla="*/ 4535330 w 5838825"/>
                  <a:gd name="connsiteY186" fmla="*/ 107215 h 5441951"/>
                  <a:gd name="connsiteX187" fmla="*/ 3803230 w 5838825"/>
                  <a:gd name="connsiteY187" fmla="*/ 836875 h 5441951"/>
                  <a:gd name="connsiteX188" fmla="*/ 3803230 w 5838825"/>
                  <a:gd name="connsiteY188" fmla="*/ 1652902 h 5441951"/>
                  <a:gd name="connsiteX189" fmla="*/ 4184160 w 5838825"/>
                  <a:gd name="connsiteY189" fmla="*/ 2037090 h 5441951"/>
                  <a:gd name="connsiteX190" fmla="*/ 5005541 w 5838825"/>
                  <a:gd name="connsiteY190" fmla="*/ 2037090 h 5441951"/>
                  <a:gd name="connsiteX191" fmla="*/ 5731688 w 5838825"/>
                  <a:gd name="connsiteY191" fmla="*/ 1307431 h 5441951"/>
                  <a:gd name="connsiteX192" fmla="*/ 5749545 w 5838825"/>
                  <a:gd name="connsiteY192" fmla="*/ 1295518 h 5441951"/>
                  <a:gd name="connsiteX193" fmla="*/ 5752521 w 5838825"/>
                  <a:gd name="connsiteY193" fmla="*/ 1295518 h 5441951"/>
                  <a:gd name="connsiteX194" fmla="*/ 5776329 w 5838825"/>
                  <a:gd name="connsiteY194" fmla="*/ 1289562 h 5441951"/>
                  <a:gd name="connsiteX195" fmla="*/ 5800137 w 5838825"/>
                  <a:gd name="connsiteY195" fmla="*/ 1295518 h 5441951"/>
                  <a:gd name="connsiteX196" fmla="*/ 5817993 w 5838825"/>
                  <a:gd name="connsiteY196" fmla="*/ 1307431 h 5441951"/>
                  <a:gd name="connsiteX197" fmla="*/ 5820969 w 5838825"/>
                  <a:gd name="connsiteY197" fmla="*/ 1307431 h 5441951"/>
                  <a:gd name="connsiteX198" fmla="*/ 5832873 w 5838825"/>
                  <a:gd name="connsiteY198" fmla="*/ 1331257 h 5441951"/>
                  <a:gd name="connsiteX199" fmla="*/ 5838825 w 5838825"/>
                  <a:gd name="connsiteY199" fmla="*/ 1352104 h 5441951"/>
                  <a:gd name="connsiteX200" fmla="*/ 5838825 w 5838825"/>
                  <a:gd name="connsiteY200" fmla="*/ 1355082 h 5441951"/>
                  <a:gd name="connsiteX201" fmla="*/ 5832873 w 5838825"/>
                  <a:gd name="connsiteY201" fmla="*/ 1375930 h 5441951"/>
                  <a:gd name="connsiteX202" fmla="*/ 5820969 w 5838825"/>
                  <a:gd name="connsiteY202" fmla="*/ 1396777 h 5441951"/>
                  <a:gd name="connsiteX203" fmla="*/ 5076965 w 5838825"/>
                  <a:gd name="connsiteY203" fmla="*/ 2141327 h 5441951"/>
                  <a:gd name="connsiteX204" fmla="*/ 5059109 w 5838825"/>
                  <a:gd name="connsiteY204" fmla="*/ 2156218 h 5441951"/>
                  <a:gd name="connsiteX205" fmla="*/ 5056133 w 5838825"/>
                  <a:gd name="connsiteY205" fmla="*/ 2156218 h 5441951"/>
                  <a:gd name="connsiteX206" fmla="*/ 5032325 w 5838825"/>
                  <a:gd name="connsiteY206" fmla="*/ 2162175 h 5441951"/>
                  <a:gd name="connsiteX207" fmla="*/ 4160352 w 5838825"/>
                  <a:gd name="connsiteY207" fmla="*/ 2162175 h 5441951"/>
                  <a:gd name="connsiteX208" fmla="*/ 4136544 w 5838825"/>
                  <a:gd name="connsiteY208" fmla="*/ 2156218 h 5441951"/>
                  <a:gd name="connsiteX209" fmla="*/ 4133568 w 5838825"/>
                  <a:gd name="connsiteY209" fmla="*/ 2156218 h 5441951"/>
                  <a:gd name="connsiteX210" fmla="*/ 4115712 w 5838825"/>
                  <a:gd name="connsiteY210" fmla="*/ 2141327 h 5441951"/>
                  <a:gd name="connsiteX211" fmla="*/ 3696093 w 5838825"/>
                  <a:gd name="connsiteY211" fmla="*/ 1724379 h 5441951"/>
                  <a:gd name="connsiteX212" fmla="*/ 3684189 w 5838825"/>
                  <a:gd name="connsiteY212" fmla="*/ 1703532 h 5441951"/>
                  <a:gd name="connsiteX213" fmla="*/ 3681213 w 5838825"/>
                  <a:gd name="connsiteY213" fmla="*/ 1703532 h 5441951"/>
                  <a:gd name="connsiteX214" fmla="*/ 3678237 w 5838825"/>
                  <a:gd name="connsiteY214" fmla="*/ 1679706 h 5441951"/>
                  <a:gd name="connsiteX215" fmla="*/ 3678237 w 5838825"/>
                  <a:gd name="connsiteY215" fmla="*/ 810071 h 5441951"/>
                  <a:gd name="connsiteX216" fmla="*/ 3681213 w 5838825"/>
                  <a:gd name="connsiteY216" fmla="*/ 789224 h 5441951"/>
                  <a:gd name="connsiteX217" fmla="*/ 3684189 w 5838825"/>
                  <a:gd name="connsiteY217" fmla="*/ 786246 h 5441951"/>
                  <a:gd name="connsiteX218" fmla="*/ 3696093 w 5838825"/>
                  <a:gd name="connsiteY218" fmla="*/ 765398 h 5441951"/>
                  <a:gd name="connsiteX219" fmla="*/ 4443073 w 5838825"/>
                  <a:gd name="connsiteY219" fmla="*/ 17869 h 5441951"/>
                  <a:gd name="connsiteX220" fmla="*/ 4463906 w 5838825"/>
                  <a:gd name="connsiteY220" fmla="*/ 5956 h 5441951"/>
                  <a:gd name="connsiteX221" fmla="*/ 4484738 w 5838825"/>
                  <a:gd name="connsiteY221" fmla="*/ 0 h 5441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5838825" h="5441951">
                    <a:moveTo>
                      <a:pt x="835620" y="2849563"/>
                    </a:moveTo>
                    <a:cubicBezTo>
                      <a:pt x="835620" y="2849563"/>
                      <a:pt x="835620" y="2849563"/>
                      <a:pt x="859432" y="2852539"/>
                    </a:cubicBezTo>
                    <a:cubicBezTo>
                      <a:pt x="859432" y="2852539"/>
                      <a:pt x="859432" y="2852539"/>
                      <a:pt x="877292" y="2864445"/>
                    </a:cubicBezTo>
                    <a:cubicBezTo>
                      <a:pt x="880268" y="2864445"/>
                      <a:pt x="880268" y="2864445"/>
                      <a:pt x="880268" y="2864445"/>
                    </a:cubicBezTo>
                    <a:cubicBezTo>
                      <a:pt x="880268" y="2864445"/>
                      <a:pt x="880268" y="2864445"/>
                      <a:pt x="892175" y="2885279"/>
                    </a:cubicBezTo>
                    <a:cubicBezTo>
                      <a:pt x="892175" y="2885279"/>
                      <a:pt x="895151" y="2885279"/>
                      <a:pt x="895151" y="2885279"/>
                    </a:cubicBezTo>
                    <a:cubicBezTo>
                      <a:pt x="895151" y="2885279"/>
                      <a:pt x="895151" y="2885279"/>
                      <a:pt x="898128" y="2909090"/>
                    </a:cubicBezTo>
                    <a:cubicBezTo>
                      <a:pt x="898128" y="2909090"/>
                      <a:pt x="898128" y="2909090"/>
                      <a:pt x="898128" y="5316945"/>
                    </a:cubicBezTo>
                    <a:cubicBezTo>
                      <a:pt x="898128" y="5316945"/>
                      <a:pt x="898128" y="5316945"/>
                      <a:pt x="4934347" y="5316945"/>
                    </a:cubicBezTo>
                    <a:cubicBezTo>
                      <a:pt x="4934347" y="5316945"/>
                      <a:pt x="4934347" y="5316945"/>
                      <a:pt x="4934347" y="2915043"/>
                    </a:cubicBezTo>
                    <a:cubicBezTo>
                      <a:pt x="4934347" y="2915043"/>
                      <a:pt x="4934347" y="2915043"/>
                      <a:pt x="4940300" y="2891232"/>
                    </a:cubicBezTo>
                    <a:cubicBezTo>
                      <a:pt x="4940300" y="2891232"/>
                      <a:pt x="4940300" y="2891232"/>
                      <a:pt x="4952206" y="2873374"/>
                    </a:cubicBezTo>
                    <a:cubicBezTo>
                      <a:pt x="4952206" y="2873374"/>
                      <a:pt x="4952206" y="2870397"/>
                      <a:pt x="4952206" y="2870397"/>
                    </a:cubicBezTo>
                    <a:cubicBezTo>
                      <a:pt x="4952206" y="2870397"/>
                      <a:pt x="4952206" y="2870397"/>
                      <a:pt x="4970065" y="2858492"/>
                    </a:cubicBezTo>
                    <a:cubicBezTo>
                      <a:pt x="4970065" y="2858492"/>
                      <a:pt x="4973042" y="2858492"/>
                      <a:pt x="4973042" y="2858492"/>
                    </a:cubicBezTo>
                    <a:cubicBezTo>
                      <a:pt x="4973042" y="2858492"/>
                      <a:pt x="4973042" y="2858492"/>
                      <a:pt x="4996854" y="2852539"/>
                    </a:cubicBezTo>
                    <a:cubicBezTo>
                      <a:pt x="4999831" y="2852539"/>
                      <a:pt x="4999831" y="2852539"/>
                      <a:pt x="4999831" y="2852539"/>
                    </a:cubicBezTo>
                    <a:cubicBezTo>
                      <a:pt x="4999831" y="2852539"/>
                      <a:pt x="4999831" y="2852539"/>
                      <a:pt x="5020667" y="2858492"/>
                    </a:cubicBezTo>
                    <a:cubicBezTo>
                      <a:pt x="5020667" y="2858492"/>
                      <a:pt x="5023643" y="2858492"/>
                      <a:pt x="5023643" y="2858492"/>
                    </a:cubicBezTo>
                    <a:cubicBezTo>
                      <a:pt x="5023643" y="2858492"/>
                      <a:pt x="5023643" y="2858492"/>
                      <a:pt x="5041503" y="2870397"/>
                    </a:cubicBezTo>
                    <a:cubicBezTo>
                      <a:pt x="5041503" y="2870397"/>
                      <a:pt x="5041503" y="2873374"/>
                      <a:pt x="5041503" y="2873374"/>
                    </a:cubicBezTo>
                    <a:cubicBezTo>
                      <a:pt x="5041503" y="2873374"/>
                      <a:pt x="5041503" y="2873374"/>
                      <a:pt x="5053409" y="2891232"/>
                    </a:cubicBezTo>
                    <a:lnTo>
                      <a:pt x="5059362" y="2915043"/>
                    </a:lnTo>
                    <a:cubicBezTo>
                      <a:pt x="5059362" y="2915043"/>
                      <a:pt x="5059362" y="2915043"/>
                      <a:pt x="5059362" y="5379448"/>
                    </a:cubicBezTo>
                    <a:cubicBezTo>
                      <a:pt x="5059362" y="5379448"/>
                      <a:pt x="5059362" y="5379448"/>
                      <a:pt x="5053409" y="5403259"/>
                    </a:cubicBezTo>
                    <a:cubicBezTo>
                      <a:pt x="5053409" y="5403259"/>
                      <a:pt x="5053409" y="5403259"/>
                      <a:pt x="5041503" y="5421117"/>
                    </a:cubicBezTo>
                    <a:cubicBezTo>
                      <a:pt x="5041503" y="5424093"/>
                      <a:pt x="5041503" y="5424093"/>
                      <a:pt x="5041503" y="5424093"/>
                    </a:cubicBezTo>
                    <a:cubicBezTo>
                      <a:pt x="5041503" y="5424093"/>
                      <a:pt x="5041503" y="5424093"/>
                      <a:pt x="5023643" y="5435998"/>
                    </a:cubicBezTo>
                    <a:cubicBezTo>
                      <a:pt x="5023643" y="5435998"/>
                      <a:pt x="5020667" y="5435998"/>
                      <a:pt x="5020667" y="5435998"/>
                    </a:cubicBezTo>
                    <a:cubicBezTo>
                      <a:pt x="5020667" y="5435998"/>
                      <a:pt x="5020667" y="5435998"/>
                      <a:pt x="4999831" y="5441951"/>
                    </a:cubicBezTo>
                    <a:cubicBezTo>
                      <a:pt x="4999831" y="5441951"/>
                      <a:pt x="4999831" y="5441951"/>
                      <a:pt x="835620" y="5441951"/>
                    </a:cubicBezTo>
                    <a:cubicBezTo>
                      <a:pt x="835620" y="5441951"/>
                      <a:pt x="835620" y="5441951"/>
                      <a:pt x="811807" y="5435998"/>
                    </a:cubicBezTo>
                    <a:cubicBezTo>
                      <a:pt x="811807" y="5435998"/>
                      <a:pt x="811807" y="5435998"/>
                      <a:pt x="793948" y="5424093"/>
                    </a:cubicBezTo>
                    <a:cubicBezTo>
                      <a:pt x="793948" y="5424093"/>
                      <a:pt x="790972" y="5424093"/>
                      <a:pt x="790972" y="5424093"/>
                    </a:cubicBezTo>
                    <a:cubicBezTo>
                      <a:pt x="790972" y="5424093"/>
                      <a:pt x="790972" y="5424093"/>
                      <a:pt x="779065" y="5403259"/>
                    </a:cubicBezTo>
                    <a:cubicBezTo>
                      <a:pt x="779065" y="5403259"/>
                      <a:pt x="779065" y="5403259"/>
                      <a:pt x="773112" y="5379448"/>
                    </a:cubicBezTo>
                    <a:cubicBezTo>
                      <a:pt x="773112" y="5379448"/>
                      <a:pt x="773112" y="5379448"/>
                      <a:pt x="773112" y="2909090"/>
                    </a:cubicBezTo>
                    <a:cubicBezTo>
                      <a:pt x="773112" y="2909090"/>
                      <a:pt x="773112" y="2909090"/>
                      <a:pt x="779065" y="2885279"/>
                    </a:cubicBezTo>
                    <a:cubicBezTo>
                      <a:pt x="779065" y="2885279"/>
                      <a:pt x="779065" y="2885279"/>
                      <a:pt x="790972" y="2864445"/>
                    </a:cubicBezTo>
                    <a:cubicBezTo>
                      <a:pt x="790972" y="2864445"/>
                      <a:pt x="793948" y="2864445"/>
                      <a:pt x="793948" y="2864445"/>
                    </a:cubicBezTo>
                    <a:cubicBezTo>
                      <a:pt x="793948" y="2864445"/>
                      <a:pt x="793948" y="2864445"/>
                      <a:pt x="811807" y="2852539"/>
                    </a:cubicBezTo>
                    <a:cubicBezTo>
                      <a:pt x="811807" y="2852539"/>
                      <a:pt x="811807" y="2852539"/>
                      <a:pt x="835620" y="2849563"/>
                    </a:cubicBezTo>
                    <a:close/>
                    <a:moveTo>
                      <a:pt x="2357437" y="2601913"/>
                    </a:moveTo>
                    <a:lnTo>
                      <a:pt x="2324100" y="2643188"/>
                    </a:lnTo>
                    <a:lnTo>
                      <a:pt x="2290762" y="2687638"/>
                    </a:lnTo>
                    <a:lnTo>
                      <a:pt x="2259012" y="2733676"/>
                    </a:lnTo>
                    <a:lnTo>
                      <a:pt x="2235200" y="2778126"/>
                    </a:lnTo>
                    <a:lnTo>
                      <a:pt x="2208212" y="2822576"/>
                    </a:lnTo>
                    <a:lnTo>
                      <a:pt x="2190750" y="2863851"/>
                    </a:lnTo>
                    <a:lnTo>
                      <a:pt x="2171700" y="2901951"/>
                    </a:lnTo>
                    <a:lnTo>
                      <a:pt x="2163762" y="2938463"/>
                    </a:lnTo>
                    <a:lnTo>
                      <a:pt x="2160587" y="2971801"/>
                    </a:lnTo>
                    <a:lnTo>
                      <a:pt x="2163762" y="3019426"/>
                    </a:lnTo>
                    <a:lnTo>
                      <a:pt x="2171700" y="3057526"/>
                    </a:lnTo>
                    <a:lnTo>
                      <a:pt x="2190750" y="3092451"/>
                    </a:lnTo>
                    <a:lnTo>
                      <a:pt x="2211387" y="3122614"/>
                    </a:lnTo>
                    <a:lnTo>
                      <a:pt x="2235200" y="3146426"/>
                    </a:lnTo>
                    <a:lnTo>
                      <a:pt x="2259012" y="3167064"/>
                    </a:lnTo>
                    <a:lnTo>
                      <a:pt x="2290762" y="3176589"/>
                    </a:lnTo>
                    <a:lnTo>
                      <a:pt x="2320925" y="3187701"/>
                    </a:lnTo>
                    <a:lnTo>
                      <a:pt x="2351087" y="3187701"/>
                    </a:lnTo>
                    <a:lnTo>
                      <a:pt x="2398712" y="3186114"/>
                    </a:lnTo>
                    <a:lnTo>
                      <a:pt x="2436812" y="3176589"/>
                    </a:lnTo>
                    <a:lnTo>
                      <a:pt x="2470150" y="3159126"/>
                    </a:lnTo>
                    <a:lnTo>
                      <a:pt x="2500312" y="3135314"/>
                    </a:lnTo>
                    <a:lnTo>
                      <a:pt x="2520950" y="3101976"/>
                    </a:lnTo>
                    <a:lnTo>
                      <a:pt x="2532062" y="3067051"/>
                    </a:lnTo>
                    <a:lnTo>
                      <a:pt x="2544762" y="3021013"/>
                    </a:lnTo>
                    <a:lnTo>
                      <a:pt x="2547937" y="2971801"/>
                    </a:lnTo>
                    <a:lnTo>
                      <a:pt x="2544762" y="2928938"/>
                    </a:lnTo>
                    <a:lnTo>
                      <a:pt x="2528887" y="2884488"/>
                    </a:lnTo>
                    <a:lnTo>
                      <a:pt x="2511425" y="2836863"/>
                    </a:lnTo>
                    <a:lnTo>
                      <a:pt x="2487612" y="2786063"/>
                    </a:lnTo>
                    <a:lnTo>
                      <a:pt x="2457450" y="2741613"/>
                    </a:lnTo>
                    <a:lnTo>
                      <a:pt x="2425700" y="2690813"/>
                    </a:lnTo>
                    <a:lnTo>
                      <a:pt x="2392362" y="2643188"/>
                    </a:lnTo>
                    <a:close/>
                    <a:moveTo>
                      <a:pt x="2351282" y="2420938"/>
                    </a:moveTo>
                    <a:cubicBezTo>
                      <a:pt x="2354263" y="2420938"/>
                      <a:pt x="2354263" y="2420938"/>
                      <a:pt x="2354263" y="2420938"/>
                    </a:cubicBezTo>
                    <a:cubicBezTo>
                      <a:pt x="2354263" y="2420938"/>
                      <a:pt x="2354263" y="2420938"/>
                      <a:pt x="2357243" y="2423911"/>
                    </a:cubicBezTo>
                    <a:cubicBezTo>
                      <a:pt x="2357243" y="2423911"/>
                      <a:pt x="2357243" y="2423911"/>
                      <a:pt x="2369164" y="2432831"/>
                    </a:cubicBezTo>
                    <a:cubicBezTo>
                      <a:pt x="2369164" y="2432831"/>
                      <a:pt x="2369164" y="2432831"/>
                      <a:pt x="2387046" y="2450671"/>
                    </a:cubicBezTo>
                    <a:cubicBezTo>
                      <a:pt x="2387046" y="2450671"/>
                      <a:pt x="2387046" y="2450671"/>
                      <a:pt x="2404928" y="2474457"/>
                    </a:cubicBezTo>
                    <a:cubicBezTo>
                      <a:pt x="2404928" y="2474457"/>
                      <a:pt x="2404928" y="2474457"/>
                      <a:pt x="2455593" y="2530948"/>
                    </a:cubicBezTo>
                    <a:cubicBezTo>
                      <a:pt x="2455593" y="2530948"/>
                      <a:pt x="2455593" y="2530948"/>
                      <a:pt x="2482416" y="2566627"/>
                    </a:cubicBezTo>
                    <a:cubicBezTo>
                      <a:pt x="2482416" y="2566627"/>
                      <a:pt x="2482416" y="2566627"/>
                      <a:pt x="2542022" y="2643931"/>
                    </a:cubicBezTo>
                    <a:cubicBezTo>
                      <a:pt x="2542022" y="2643931"/>
                      <a:pt x="2542022" y="2643931"/>
                      <a:pt x="2568845" y="2688530"/>
                    </a:cubicBezTo>
                    <a:cubicBezTo>
                      <a:pt x="2568845" y="2688530"/>
                      <a:pt x="2568845" y="2688530"/>
                      <a:pt x="2595668" y="2736102"/>
                    </a:cubicBezTo>
                    <a:cubicBezTo>
                      <a:pt x="2595668" y="2736102"/>
                      <a:pt x="2595668" y="2736102"/>
                      <a:pt x="2619510" y="2780701"/>
                    </a:cubicBezTo>
                    <a:cubicBezTo>
                      <a:pt x="2619510" y="2780701"/>
                      <a:pt x="2619510" y="2780701"/>
                      <a:pt x="2640372" y="2828273"/>
                    </a:cubicBezTo>
                    <a:cubicBezTo>
                      <a:pt x="2640372" y="2828273"/>
                      <a:pt x="2640372" y="2828273"/>
                      <a:pt x="2655274" y="2875844"/>
                    </a:cubicBezTo>
                    <a:cubicBezTo>
                      <a:pt x="2655274" y="2875844"/>
                      <a:pt x="2655274" y="2875844"/>
                      <a:pt x="2664215" y="2923416"/>
                    </a:cubicBezTo>
                    <a:cubicBezTo>
                      <a:pt x="2664215" y="2923416"/>
                      <a:pt x="2664215" y="2923416"/>
                      <a:pt x="2670175" y="2970988"/>
                    </a:cubicBezTo>
                    <a:cubicBezTo>
                      <a:pt x="2670175" y="2970988"/>
                      <a:pt x="2670175" y="2970988"/>
                      <a:pt x="2664215" y="3033426"/>
                    </a:cubicBezTo>
                    <a:cubicBezTo>
                      <a:pt x="2664215" y="3033426"/>
                      <a:pt x="2664215" y="3033426"/>
                      <a:pt x="2658254" y="3086945"/>
                    </a:cubicBezTo>
                    <a:cubicBezTo>
                      <a:pt x="2658254" y="3086945"/>
                      <a:pt x="2658254" y="3086945"/>
                      <a:pt x="2640372" y="3137490"/>
                    </a:cubicBezTo>
                    <a:cubicBezTo>
                      <a:pt x="2640372" y="3137490"/>
                      <a:pt x="2640372" y="3137490"/>
                      <a:pt x="2616530" y="3179115"/>
                    </a:cubicBezTo>
                    <a:cubicBezTo>
                      <a:pt x="2616530" y="3179115"/>
                      <a:pt x="2616530" y="3179115"/>
                      <a:pt x="2589707" y="3214794"/>
                    </a:cubicBezTo>
                    <a:cubicBezTo>
                      <a:pt x="2589707" y="3214794"/>
                      <a:pt x="2589707" y="3214794"/>
                      <a:pt x="2556924" y="3244527"/>
                    </a:cubicBezTo>
                    <a:cubicBezTo>
                      <a:pt x="2556924" y="3244527"/>
                      <a:pt x="2556924" y="3244527"/>
                      <a:pt x="2521160" y="3268313"/>
                    </a:cubicBezTo>
                    <a:cubicBezTo>
                      <a:pt x="2521160" y="3268313"/>
                      <a:pt x="2521160" y="3268313"/>
                      <a:pt x="2485396" y="3286152"/>
                    </a:cubicBezTo>
                    <a:cubicBezTo>
                      <a:pt x="2485396" y="3286152"/>
                      <a:pt x="2485396" y="3286152"/>
                      <a:pt x="2443672" y="3301018"/>
                    </a:cubicBezTo>
                    <a:cubicBezTo>
                      <a:pt x="2443672" y="3301018"/>
                      <a:pt x="2443672" y="3301018"/>
                      <a:pt x="2398967" y="3306965"/>
                    </a:cubicBezTo>
                    <a:cubicBezTo>
                      <a:pt x="2398967" y="3306965"/>
                      <a:pt x="2398967" y="3306965"/>
                      <a:pt x="2354263" y="3309938"/>
                    </a:cubicBezTo>
                    <a:cubicBezTo>
                      <a:pt x="2354263" y="3309938"/>
                      <a:pt x="2354263" y="3309938"/>
                      <a:pt x="2303598" y="3306965"/>
                    </a:cubicBezTo>
                    <a:cubicBezTo>
                      <a:pt x="2303598" y="3306965"/>
                      <a:pt x="2303598" y="3306965"/>
                      <a:pt x="2255913" y="3295072"/>
                    </a:cubicBezTo>
                    <a:cubicBezTo>
                      <a:pt x="2255913" y="3295072"/>
                      <a:pt x="2255913" y="3295072"/>
                      <a:pt x="2214188" y="3274259"/>
                    </a:cubicBezTo>
                    <a:cubicBezTo>
                      <a:pt x="2214188" y="3274259"/>
                      <a:pt x="2214188" y="3274259"/>
                      <a:pt x="2172464" y="3250473"/>
                    </a:cubicBezTo>
                    <a:cubicBezTo>
                      <a:pt x="2172464" y="3250473"/>
                      <a:pt x="2172464" y="3250473"/>
                      <a:pt x="2133720" y="3220741"/>
                    </a:cubicBezTo>
                    <a:cubicBezTo>
                      <a:pt x="2133720" y="3220741"/>
                      <a:pt x="2133720" y="3220741"/>
                      <a:pt x="2100937" y="3182089"/>
                    </a:cubicBezTo>
                    <a:cubicBezTo>
                      <a:pt x="2100937" y="3182089"/>
                      <a:pt x="2100937" y="3182089"/>
                      <a:pt x="2074114" y="3137490"/>
                    </a:cubicBezTo>
                    <a:cubicBezTo>
                      <a:pt x="2074114" y="3137490"/>
                      <a:pt x="2074114" y="3137490"/>
                      <a:pt x="2056232" y="3086945"/>
                    </a:cubicBezTo>
                    <a:cubicBezTo>
                      <a:pt x="2056232" y="3086945"/>
                      <a:pt x="2056232" y="3086945"/>
                      <a:pt x="2041331" y="3030453"/>
                    </a:cubicBezTo>
                    <a:cubicBezTo>
                      <a:pt x="2041331" y="3030453"/>
                      <a:pt x="2041331" y="3030453"/>
                      <a:pt x="2038350" y="2970988"/>
                    </a:cubicBezTo>
                    <a:cubicBezTo>
                      <a:pt x="2038350" y="2970988"/>
                      <a:pt x="2038350" y="2970988"/>
                      <a:pt x="2041331" y="2932336"/>
                    </a:cubicBezTo>
                    <a:cubicBezTo>
                      <a:pt x="2041331" y="2932336"/>
                      <a:pt x="2041331" y="2932336"/>
                      <a:pt x="2047291" y="2890711"/>
                    </a:cubicBezTo>
                    <a:cubicBezTo>
                      <a:pt x="2047291" y="2890711"/>
                      <a:pt x="2047291" y="2890711"/>
                      <a:pt x="2065173" y="2846112"/>
                    </a:cubicBezTo>
                    <a:cubicBezTo>
                      <a:pt x="2065173" y="2846112"/>
                      <a:pt x="2065173" y="2846112"/>
                      <a:pt x="2080075" y="2804487"/>
                    </a:cubicBezTo>
                    <a:cubicBezTo>
                      <a:pt x="2080075" y="2804487"/>
                      <a:pt x="2080075" y="2804487"/>
                      <a:pt x="2103917" y="2762861"/>
                    </a:cubicBezTo>
                    <a:cubicBezTo>
                      <a:pt x="2103917" y="2762861"/>
                      <a:pt x="2103917" y="2762861"/>
                      <a:pt x="2130740" y="2718263"/>
                    </a:cubicBezTo>
                    <a:lnTo>
                      <a:pt x="2154582" y="2676637"/>
                    </a:lnTo>
                    <a:cubicBezTo>
                      <a:pt x="2154582" y="2676637"/>
                      <a:pt x="2154582" y="2676637"/>
                      <a:pt x="2181405" y="2637985"/>
                    </a:cubicBezTo>
                    <a:cubicBezTo>
                      <a:pt x="2181405" y="2637985"/>
                      <a:pt x="2181405" y="2637985"/>
                      <a:pt x="2211208" y="2596360"/>
                    </a:cubicBezTo>
                    <a:cubicBezTo>
                      <a:pt x="2211208" y="2596360"/>
                      <a:pt x="2211208" y="2596360"/>
                      <a:pt x="2235050" y="2560681"/>
                    </a:cubicBezTo>
                    <a:cubicBezTo>
                      <a:pt x="2235050" y="2560681"/>
                      <a:pt x="2235050" y="2560681"/>
                      <a:pt x="2261873" y="2527975"/>
                    </a:cubicBezTo>
                    <a:cubicBezTo>
                      <a:pt x="2261873" y="2527975"/>
                      <a:pt x="2261873" y="2527975"/>
                      <a:pt x="2285716" y="2495269"/>
                    </a:cubicBezTo>
                    <a:cubicBezTo>
                      <a:pt x="2285716" y="2495269"/>
                      <a:pt x="2285716" y="2495269"/>
                      <a:pt x="2306578" y="2471483"/>
                    </a:cubicBezTo>
                    <a:cubicBezTo>
                      <a:pt x="2306578" y="2471483"/>
                      <a:pt x="2306578" y="2471483"/>
                      <a:pt x="2327440" y="2450671"/>
                    </a:cubicBezTo>
                    <a:cubicBezTo>
                      <a:pt x="2327440" y="2450671"/>
                      <a:pt x="2327440" y="2450671"/>
                      <a:pt x="2339361" y="2435804"/>
                    </a:cubicBezTo>
                    <a:cubicBezTo>
                      <a:pt x="2339361" y="2432831"/>
                      <a:pt x="2339361" y="2432831"/>
                      <a:pt x="2339361" y="2432831"/>
                    </a:cubicBezTo>
                    <a:cubicBezTo>
                      <a:pt x="2339361" y="2432831"/>
                      <a:pt x="2339361" y="2432831"/>
                      <a:pt x="2348302" y="2426885"/>
                    </a:cubicBezTo>
                    <a:cubicBezTo>
                      <a:pt x="2348302" y="2426885"/>
                      <a:pt x="2348302" y="2426885"/>
                      <a:pt x="2351282" y="2423911"/>
                    </a:cubicBezTo>
                    <a:cubicBezTo>
                      <a:pt x="2351282" y="2420938"/>
                      <a:pt x="2351282" y="2420938"/>
                      <a:pt x="2351282" y="2420938"/>
                    </a:cubicBezTo>
                    <a:close/>
                    <a:moveTo>
                      <a:pt x="1351112" y="0"/>
                    </a:moveTo>
                    <a:cubicBezTo>
                      <a:pt x="1351112" y="0"/>
                      <a:pt x="1351112" y="0"/>
                      <a:pt x="1354088" y="0"/>
                    </a:cubicBezTo>
                    <a:cubicBezTo>
                      <a:pt x="1354088" y="0"/>
                      <a:pt x="1354088" y="0"/>
                      <a:pt x="1374920" y="5956"/>
                    </a:cubicBezTo>
                    <a:cubicBezTo>
                      <a:pt x="1374920" y="5956"/>
                      <a:pt x="1374920" y="5956"/>
                      <a:pt x="1395752" y="17869"/>
                    </a:cubicBezTo>
                    <a:cubicBezTo>
                      <a:pt x="1395752" y="17869"/>
                      <a:pt x="1395752" y="17869"/>
                      <a:pt x="2142732" y="765398"/>
                    </a:cubicBezTo>
                    <a:cubicBezTo>
                      <a:pt x="2142732" y="765398"/>
                      <a:pt x="2142732" y="765398"/>
                      <a:pt x="2154636" y="786246"/>
                    </a:cubicBezTo>
                    <a:cubicBezTo>
                      <a:pt x="2157612" y="789224"/>
                      <a:pt x="2157612" y="789224"/>
                      <a:pt x="2157612" y="789224"/>
                    </a:cubicBezTo>
                    <a:cubicBezTo>
                      <a:pt x="2157612" y="789224"/>
                      <a:pt x="2157612" y="789224"/>
                      <a:pt x="2160588" y="810071"/>
                    </a:cubicBezTo>
                    <a:cubicBezTo>
                      <a:pt x="2160588" y="810071"/>
                      <a:pt x="2160588" y="810071"/>
                      <a:pt x="2160588" y="1676728"/>
                    </a:cubicBezTo>
                    <a:cubicBezTo>
                      <a:pt x="2160588" y="1676728"/>
                      <a:pt x="2160588" y="1676728"/>
                      <a:pt x="2157612" y="1703532"/>
                    </a:cubicBezTo>
                    <a:cubicBezTo>
                      <a:pt x="2157612" y="1703532"/>
                      <a:pt x="2157612" y="1703532"/>
                      <a:pt x="2154636" y="1703532"/>
                    </a:cubicBezTo>
                    <a:cubicBezTo>
                      <a:pt x="2154636" y="1703532"/>
                      <a:pt x="2154636" y="1703532"/>
                      <a:pt x="2142732" y="1724379"/>
                    </a:cubicBezTo>
                    <a:cubicBezTo>
                      <a:pt x="2142732" y="1724379"/>
                      <a:pt x="2142732" y="1724379"/>
                      <a:pt x="1723114" y="2141327"/>
                    </a:cubicBezTo>
                    <a:cubicBezTo>
                      <a:pt x="1723114" y="2141327"/>
                      <a:pt x="1723114" y="2141327"/>
                      <a:pt x="1705258" y="2156218"/>
                    </a:cubicBezTo>
                    <a:cubicBezTo>
                      <a:pt x="1705258" y="2156218"/>
                      <a:pt x="1705258" y="2156218"/>
                      <a:pt x="1702282" y="2156218"/>
                    </a:cubicBezTo>
                    <a:cubicBezTo>
                      <a:pt x="1702282" y="2156218"/>
                      <a:pt x="1702282" y="2156218"/>
                      <a:pt x="1678474" y="2162175"/>
                    </a:cubicBezTo>
                    <a:cubicBezTo>
                      <a:pt x="1678474" y="2162175"/>
                      <a:pt x="1678474" y="2162175"/>
                      <a:pt x="806501" y="2162175"/>
                    </a:cubicBezTo>
                    <a:cubicBezTo>
                      <a:pt x="806501" y="2162175"/>
                      <a:pt x="806501" y="2162175"/>
                      <a:pt x="782693" y="2156218"/>
                    </a:cubicBezTo>
                    <a:cubicBezTo>
                      <a:pt x="782693" y="2156218"/>
                      <a:pt x="782693" y="2156218"/>
                      <a:pt x="779716" y="2156218"/>
                    </a:cubicBezTo>
                    <a:cubicBezTo>
                      <a:pt x="779716" y="2156218"/>
                      <a:pt x="779716" y="2156218"/>
                      <a:pt x="761860" y="2141327"/>
                    </a:cubicBezTo>
                    <a:cubicBezTo>
                      <a:pt x="761860" y="2141327"/>
                      <a:pt x="761860" y="2141327"/>
                      <a:pt x="17856" y="1396777"/>
                    </a:cubicBezTo>
                    <a:cubicBezTo>
                      <a:pt x="17856" y="1396777"/>
                      <a:pt x="17856" y="1396777"/>
                      <a:pt x="5952" y="1375930"/>
                    </a:cubicBezTo>
                    <a:cubicBezTo>
                      <a:pt x="5952" y="1375930"/>
                      <a:pt x="5952" y="1375930"/>
                      <a:pt x="0" y="1355082"/>
                    </a:cubicBezTo>
                    <a:cubicBezTo>
                      <a:pt x="0" y="1355082"/>
                      <a:pt x="0" y="1355082"/>
                      <a:pt x="0" y="1352104"/>
                    </a:cubicBezTo>
                    <a:cubicBezTo>
                      <a:pt x="0" y="1352104"/>
                      <a:pt x="0" y="1352104"/>
                      <a:pt x="5952" y="1331257"/>
                    </a:cubicBezTo>
                    <a:cubicBezTo>
                      <a:pt x="5952" y="1331257"/>
                      <a:pt x="5952" y="1331257"/>
                      <a:pt x="17856" y="1307431"/>
                    </a:cubicBezTo>
                    <a:cubicBezTo>
                      <a:pt x="17856" y="1307431"/>
                      <a:pt x="17856" y="1307431"/>
                      <a:pt x="20832" y="1307431"/>
                    </a:cubicBezTo>
                    <a:cubicBezTo>
                      <a:pt x="20832" y="1307431"/>
                      <a:pt x="20832" y="1307431"/>
                      <a:pt x="38688" y="1295518"/>
                    </a:cubicBezTo>
                    <a:cubicBezTo>
                      <a:pt x="38688" y="1295518"/>
                      <a:pt x="38688" y="1295518"/>
                      <a:pt x="62496" y="1289562"/>
                    </a:cubicBezTo>
                    <a:cubicBezTo>
                      <a:pt x="62496" y="1289562"/>
                      <a:pt x="62496" y="1289562"/>
                      <a:pt x="86304" y="1295518"/>
                    </a:cubicBezTo>
                    <a:cubicBezTo>
                      <a:pt x="86304" y="1295518"/>
                      <a:pt x="86304" y="1295518"/>
                      <a:pt x="89281" y="1295518"/>
                    </a:cubicBezTo>
                    <a:cubicBezTo>
                      <a:pt x="89281" y="1295518"/>
                      <a:pt x="89281" y="1295518"/>
                      <a:pt x="107136" y="1307431"/>
                    </a:cubicBezTo>
                    <a:cubicBezTo>
                      <a:pt x="107136" y="1307431"/>
                      <a:pt x="107136" y="1307431"/>
                      <a:pt x="833285" y="2037090"/>
                    </a:cubicBezTo>
                    <a:cubicBezTo>
                      <a:pt x="833285" y="2037090"/>
                      <a:pt x="833285" y="2037090"/>
                      <a:pt x="1654665" y="2037090"/>
                    </a:cubicBezTo>
                    <a:cubicBezTo>
                      <a:pt x="1654665" y="2037090"/>
                      <a:pt x="1654665" y="2037090"/>
                      <a:pt x="2035595" y="1652902"/>
                    </a:cubicBezTo>
                    <a:cubicBezTo>
                      <a:pt x="2035595" y="1652902"/>
                      <a:pt x="2035595" y="1652902"/>
                      <a:pt x="2035595" y="836875"/>
                    </a:cubicBezTo>
                    <a:cubicBezTo>
                      <a:pt x="2035595" y="836875"/>
                      <a:pt x="2035595" y="836875"/>
                      <a:pt x="1306471" y="107215"/>
                    </a:cubicBezTo>
                    <a:cubicBezTo>
                      <a:pt x="1306471" y="107215"/>
                      <a:pt x="1306471" y="107215"/>
                      <a:pt x="1291591" y="89346"/>
                    </a:cubicBezTo>
                    <a:cubicBezTo>
                      <a:pt x="1291591" y="86368"/>
                      <a:pt x="1291591" y="86368"/>
                      <a:pt x="1291591" y="86368"/>
                    </a:cubicBezTo>
                    <a:cubicBezTo>
                      <a:pt x="1291591" y="86368"/>
                      <a:pt x="1291591" y="86368"/>
                      <a:pt x="1288615" y="62542"/>
                    </a:cubicBezTo>
                    <a:cubicBezTo>
                      <a:pt x="1288615" y="62542"/>
                      <a:pt x="1288615" y="62542"/>
                      <a:pt x="1291591" y="38717"/>
                    </a:cubicBezTo>
                    <a:cubicBezTo>
                      <a:pt x="1291591" y="38717"/>
                      <a:pt x="1291591" y="38717"/>
                      <a:pt x="1303495" y="20848"/>
                    </a:cubicBezTo>
                    <a:cubicBezTo>
                      <a:pt x="1306471" y="17869"/>
                      <a:pt x="1306471" y="17869"/>
                      <a:pt x="1306471" y="17869"/>
                    </a:cubicBezTo>
                    <a:cubicBezTo>
                      <a:pt x="1306471" y="17869"/>
                      <a:pt x="1306471" y="17869"/>
                      <a:pt x="1327304" y="5956"/>
                    </a:cubicBezTo>
                    <a:cubicBezTo>
                      <a:pt x="1327304" y="5956"/>
                      <a:pt x="1327304" y="5956"/>
                      <a:pt x="1351112" y="0"/>
                    </a:cubicBezTo>
                    <a:close/>
                    <a:moveTo>
                      <a:pt x="4484738" y="0"/>
                    </a:moveTo>
                    <a:cubicBezTo>
                      <a:pt x="4487714" y="0"/>
                      <a:pt x="4487714" y="0"/>
                      <a:pt x="4487714" y="0"/>
                    </a:cubicBezTo>
                    <a:cubicBezTo>
                      <a:pt x="4487714" y="0"/>
                      <a:pt x="4487714" y="0"/>
                      <a:pt x="4511522" y="5956"/>
                    </a:cubicBezTo>
                    <a:cubicBezTo>
                      <a:pt x="4511522" y="5956"/>
                      <a:pt x="4511522" y="5956"/>
                      <a:pt x="4532354" y="17869"/>
                    </a:cubicBezTo>
                    <a:cubicBezTo>
                      <a:pt x="4532354" y="17869"/>
                      <a:pt x="4532354" y="17869"/>
                      <a:pt x="4535330" y="20847"/>
                    </a:cubicBezTo>
                    <a:cubicBezTo>
                      <a:pt x="4535330" y="20847"/>
                      <a:pt x="4535330" y="20847"/>
                      <a:pt x="4547234" y="38717"/>
                    </a:cubicBezTo>
                    <a:cubicBezTo>
                      <a:pt x="4547234" y="38717"/>
                      <a:pt x="4547234" y="38717"/>
                      <a:pt x="4550210" y="62542"/>
                    </a:cubicBezTo>
                    <a:cubicBezTo>
                      <a:pt x="4550210" y="62542"/>
                      <a:pt x="4550210" y="62542"/>
                      <a:pt x="4547234" y="86368"/>
                    </a:cubicBezTo>
                    <a:cubicBezTo>
                      <a:pt x="4547234" y="86368"/>
                      <a:pt x="4547234" y="86368"/>
                      <a:pt x="4547234" y="89346"/>
                    </a:cubicBezTo>
                    <a:cubicBezTo>
                      <a:pt x="4547234" y="89346"/>
                      <a:pt x="4547234" y="89346"/>
                      <a:pt x="4535330" y="107215"/>
                    </a:cubicBezTo>
                    <a:cubicBezTo>
                      <a:pt x="4535330" y="107215"/>
                      <a:pt x="4535330" y="107215"/>
                      <a:pt x="3803230" y="836875"/>
                    </a:cubicBezTo>
                    <a:cubicBezTo>
                      <a:pt x="3803230" y="836875"/>
                      <a:pt x="3803230" y="836875"/>
                      <a:pt x="3803230" y="1652902"/>
                    </a:cubicBezTo>
                    <a:cubicBezTo>
                      <a:pt x="3803230" y="1652902"/>
                      <a:pt x="3803230" y="1652902"/>
                      <a:pt x="4184160" y="2037090"/>
                    </a:cubicBezTo>
                    <a:cubicBezTo>
                      <a:pt x="4184160" y="2037090"/>
                      <a:pt x="4184160" y="2037090"/>
                      <a:pt x="5005541" y="2037090"/>
                    </a:cubicBezTo>
                    <a:cubicBezTo>
                      <a:pt x="5005541" y="2037090"/>
                      <a:pt x="5005541" y="2037090"/>
                      <a:pt x="5731688" y="1307431"/>
                    </a:cubicBezTo>
                    <a:cubicBezTo>
                      <a:pt x="5731688" y="1307431"/>
                      <a:pt x="5731688" y="1307431"/>
                      <a:pt x="5749545" y="1295518"/>
                    </a:cubicBezTo>
                    <a:cubicBezTo>
                      <a:pt x="5752521" y="1295518"/>
                      <a:pt x="5752521" y="1295518"/>
                      <a:pt x="5752521" y="1295518"/>
                    </a:cubicBezTo>
                    <a:cubicBezTo>
                      <a:pt x="5752521" y="1295518"/>
                      <a:pt x="5752521" y="1295518"/>
                      <a:pt x="5776329" y="1289562"/>
                    </a:cubicBezTo>
                    <a:cubicBezTo>
                      <a:pt x="5776329" y="1289562"/>
                      <a:pt x="5776329" y="1289562"/>
                      <a:pt x="5800137" y="1295518"/>
                    </a:cubicBezTo>
                    <a:cubicBezTo>
                      <a:pt x="5800137" y="1295518"/>
                      <a:pt x="5800137" y="1295518"/>
                      <a:pt x="5817993" y="1307431"/>
                    </a:cubicBezTo>
                    <a:cubicBezTo>
                      <a:pt x="5820969" y="1307431"/>
                      <a:pt x="5820969" y="1307431"/>
                      <a:pt x="5820969" y="1307431"/>
                    </a:cubicBezTo>
                    <a:cubicBezTo>
                      <a:pt x="5820969" y="1307431"/>
                      <a:pt x="5820969" y="1307431"/>
                      <a:pt x="5832873" y="1331257"/>
                    </a:cubicBezTo>
                    <a:lnTo>
                      <a:pt x="5838825" y="1352104"/>
                    </a:lnTo>
                    <a:cubicBezTo>
                      <a:pt x="5838825" y="1355082"/>
                      <a:pt x="5838825" y="1355082"/>
                      <a:pt x="5838825" y="1355082"/>
                    </a:cubicBezTo>
                    <a:cubicBezTo>
                      <a:pt x="5838825" y="1355082"/>
                      <a:pt x="5838825" y="1355082"/>
                      <a:pt x="5832873" y="1375930"/>
                    </a:cubicBezTo>
                    <a:cubicBezTo>
                      <a:pt x="5832873" y="1375930"/>
                      <a:pt x="5832873" y="1375930"/>
                      <a:pt x="5820969" y="1396777"/>
                    </a:cubicBezTo>
                    <a:cubicBezTo>
                      <a:pt x="5820969" y="1396777"/>
                      <a:pt x="5820969" y="1396777"/>
                      <a:pt x="5076965" y="2141327"/>
                    </a:cubicBezTo>
                    <a:cubicBezTo>
                      <a:pt x="5076965" y="2141327"/>
                      <a:pt x="5076965" y="2141327"/>
                      <a:pt x="5059109" y="2156218"/>
                    </a:cubicBezTo>
                    <a:cubicBezTo>
                      <a:pt x="5056133" y="2156218"/>
                      <a:pt x="5056133" y="2156218"/>
                      <a:pt x="5056133" y="2156218"/>
                    </a:cubicBezTo>
                    <a:cubicBezTo>
                      <a:pt x="5056133" y="2156218"/>
                      <a:pt x="5056133" y="2156218"/>
                      <a:pt x="5032325" y="2162175"/>
                    </a:cubicBezTo>
                    <a:cubicBezTo>
                      <a:pt x="5032325" y="2162175"/>
                      <a:pt x="5032325" y="2162175"/>
                      <a:pt x="4160352" y="2162175"/>
                    </a:cubicBezTo>
                    <a:cubicBezTo>
                      <a:pt x="4160352" y="2162175"/>
                      <a:pt x="4160352" y="2162175"/>
                      <a:pt x="4136544" y="2156218"/>
                    </a:cubicBezTo>
                    <a:cubicBezTo>
                      <a:pt x="4133568" y="2156218"/>
                      <a:pt x="4133568" y="2156218"/>
                      <a:pt x="4133568" y="2156218"/>
                    </a:cubicBezTo>
                    <a:cubicBezTo>
                      <a:pt x="4133568" y="2156218"/>
                      <a:pt x="4133568" y="2156218"/>
                      <a:pt x="4115712" y="2141327"/>
                    </a:cubicBezTo>
                    <a:cubicBezTo>
                      <a:pt x="4115712" y="2141327"/>
                      <a:pt x="4115712" y="2141327"/>
                      <a:pt x="3696093" y="1724379"/>
                    </a:cubicBezTo>
                    <a:cubicBezTo>
                      <a:pt x="3696093" y="1724379"/>
                      <a:pt x="3696093" y="1724379"/>
                      <a:pt x="3684189" y="1703532"/>
                    </a:cubicBezTo>
                    <a:cubicBezTo>
                      <a:pt x="3681213" y="1703532"/>
                      <a:pt x="3681213" y="1703532"/>
                      <a:pt x="3681213" y="1703532"/>
                    </a:cubicBezTo>
                    <a:cubicBezTo>
                      <a:pt x="3681213" y="1703532"/>
                      <a:pt x="3681213" y="1703532"/>
                      <a:pt x="3678237" y="1679706"/>
                    </a:cubicBezTo>
                    <a:cubicBezTo>
                      <a:pt x="3678237" y="1679706"/>
                      <a:pt x="3678237" y="1679706"/>
                      <a:pt x="3678237" y="810071"/>
                    </a:cubicBezTo>
                    <a:cubicBezTo>
                      <a:pt x="3678237" y="810071"/>
                      <a:pt x="3678237" y="810071"/>
                      <a:pt x="3681213" y="789224"/>
                    </a:cubicBezTo>
                    <a:cubicBezTo>
                      <a:pt x="3681213" y="789224"/>
                      <a:pt x="3681213" y="789224"/>
                      <a:pt x="3684189" y="786246"/>
                    </a:cubicBezTo>
                    <a:cubicBezTo>
                      <a:pt x="3684189" y="786246"/>
                      <a:pt x="3684189" y="786246"/>
                      <a:pt x="3696093" y="765398"/>
                    </a:cubicBezTo>
                    <a:cubicBezTo>
                      <a:pt x="3696093" y="765398"/>
                      <a:pt x="3696093" y="765398"/>
                      <a:pt x="4443073" y="17869"/>
                    </a:cubicBezTo>
                    <a:cubicBezTo>
                      <a:pt x="4443073" y="17869"/>
                      <a:pt x="4443073" y="17869"/>
                      <a:pt x="4463906" y="5956"/>
                    </a:cubicBezTo>
                    <a:cubicBezTo>
                      <a:pt x="4463906" y="5956"/>
                      <a:pt x="4463906" y="5956"/>
                      <a:pt x="448473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978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5"/>
          <p:cNvSpPr txBox="1">
            <a:spLocks noGrp="1"/>
          </p:cNvSpPr>
          <p:nvPr>
            <p:ph type="ctrTitle"/>
          </p:nvPr>
        </p:nvSpPr>
        <p:spPr>
          <a:xfrm>
            <a:off x="4128458" y="2372850"/>
            <a:ext cx="3935100" cy="211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/>
              <a:t>Caso 11:</a:t>
            </a:r>
            <a:endParaRPr sz="3000"/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500"/>
              <a:t>Redução do consumo de água na indústria metalúrgica</a:t>
            </a:r>
            <a:endParaRPr sz="350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16"/>
          <p:cNvSpPr txBox="1">
            <a:spLocks noGrp="1"/>
          </p:cNvSpPr>
          <p:nvPr>
            <p:ph type="body" idx="1"/>
          </p:nvPr>
        </p:nvSpPr>
        <p:spPr>
          <a:xfrm>
            <a:off x="838200" y="407962"/>
            <a:ext cx="10515600" cy="6210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Char char="●"/>
            </a:pPr>
            <a:r>
              <a:rPr lang="pt-BR"/>
              <a:t>Produção média anual: 1.300.000</a:t>
            </a: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●"/>
            </a:pPr>
            <a:r>
              <a:rPr lang="pt-BR"/>
              <a:t>Consumo de água anual: 86.400 m³</a:t>
            </a: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●"/>
            </a:pPr>
            <a:r>
              <a:rPr lang="pt-BR"/>
              <a:t>Processo: tratamento de superfície de peças metálicas utilizadas na fabricação de eletrodomésticos</a:t>
            </a:r>
            <a:endParaRPr/>
          </a:p>
          <a:p>
            <a:pPr marL="228600" lvl="0" indent="-50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●"/>
            </a:pPr>
            <a:r>
              <a:rPr lang="pt-BR"/>
              <a:t>Implementação de P+L: </a:t>
            </a:r>
            <a:r>
              <a:rPr lang="pt-BR" b="1"/>
              <a:t>REUSO</a:t>
            </a:r>
            <a:r>
              <a:rPr lang="pt-BR"/>
              <a:t> </a:t>
            </a:r>
            <a:r>
              <a:rPr lang="pt-BR" b="1"/>
              <a:t>da água </a:t>
            </a:r>
            <a:r>
              <a:rPr lang="pt-BR"/>
              <a:t>nos processos industriais e sanitários, utilizando sistema de filtragem 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○"/>
            </a:pPr>
            <a:r>
              <a:rPr lang="pt-BR"/>
              <a:t>Lavagem do piso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○"/>
            </a:pPr>
            <a:r>
              <a:rPr lang="pt-BR"/>
              <a:t>Remoção de tinta em pó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2100"/>
              </a:spcAft>
              <a:buClr>
                <a:schemeClr val="dk1"/>
              </a:buClr>
              <a:buSzPts val="2400"/>
              <a:buChar char="○"/>
            </a:pPr>
            <a:r>
              <a:rPr lang="pt-BR"/>
              <a:t>Limpeza de peças (desengraxe)</a:t>
            </a:r>
            <a:endParaRPr/>
          </a:p>
        </p:txBody>
      </p:sp>
      <p:sp>
        <p:nvSpPr>
          <p:cNvPr id="78" name="Google Shape;78;p16"/>
          <p:cNvSpPr/>
          <p:nvPr/>
        </p:nvSpPr>
        <p:spPr>
          <a:xfrm>
            <a:off x="6471138" y="703385"/>
            <a:ext cx="2855742" cy="54864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dk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" name="Google Shape;79;p16"/>
          <p:cNvSpPr txBox="1"/>
          <p:nvPr/>
        </p:nvSpPr>
        <p:spPr>
          <a:xfrm>
            <a:off x="6471138" y="407963"/>
            <a:ext cx="2658794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dicador de Desempenho</a:t>
            </a:r>
            <a:endParaRPr/>
          </a:p>
        </p:txBody>
      </p:sp>
      <p:sp>
        <p:nvSpPr>
          <p:cNvPr id="80" name="Google Shape;80;p16"/>
          <p:cNvSpPr txBox="1"/>
          <p:nvPr/>
        </p:nvSpPr>
        <p:spPr>
          <a:xfrm>
            <a:off x="7363877" y="1178115"/>
            <a:ext cx="87331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ETESB</a:t>
            </a:r>
            <a:endParaRPr/>
          </a:p>
        </p:txBody>
      </p:sp>
      <p:sp>
        <p:nvSpPr>
          <p:cNvPr id="81" name="Google Shape;81;p16"/>
          <p:cNvSpPr txBox="1"/>
          <p:nvPr/>
        </p:nvSpPr>
        <p:spPr>
          <a:xfrm>
            <a:off x="9518553" y="239396"/>
            <a:ext cx="1899138" cy="2246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280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66,46 litros de água </a:t>
            </a:r>
            <a:r>
              <a:rPr lang="pt-BR"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r unidade produzida</a:t>
            </a:r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7"/>
          <p:cNvSpPr txBox="1">
            <a:spLocks noGrp="1"/>
          </p:cNvSpPr>
          <p:nvPr>
            <p:ph type="body" idx="1"/>
          </p:nvPr>
        </p:nvSpPr>
        <p:spPr>
          <a:xfrm>
            <a:off x="838200" y="422031"/>
            <a:ext cx="10515600" cy="57549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Char char="●"/>
            </a:pPr>
            <a:r>
              <a:rPr lang="pt-BR"/>
              <a:t>Custo total de implantação: R$4285,00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○"/>
            </a:pPr>
            <a:r>
              <a:rPr lang="pt-BR" sz="2800"/>
              <a:t>Filtro de areia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○"/>
            </a:pPr>
            <a:r>
              <a:rPr lang="pt-BR" sz="2800"/>
              <a:t>Caixa de água para armazenamento (5 m³) 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○"/>
            </a:pPr>
            <a:r>
              <a:rPr lang="pt-BR" sz="2800"/>
              <a:t>2 bombas centrífugas</a:t>
            </a:r>
            <a:endParaRPr/>
          </a:p>
          <a:p>
            <a:pPr marL="685800" lvl="1" indent="-50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 sz="2800"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●"/>
            </a:pPr>
            <a:r>
              <a:rPr lang="pt-BR"/>
              <a:t>Resultados</a:t>
            </a:r>
            <a:r>
              <a:rPr lang="pt-BR" sz="3200"/>
              <a:t>: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○"/>
            </a:pPr>
            <a:r>
              <a:rPr lang="pt-BR" sz="2800"/>
              <a:t>Redução de </a:t>
            </a:r>
            <a:r>
              <a:rPr lang="pt-BR" sz="2800">
                <a:solidFill>
                  <a:srgbClr val="00B0F0"/>
                </a:solidFill>
              </a:rPr>
              <a:t>30%</a:t>
            </a:r>
            <a:r>
              <a:rPr lang="pt-BR" sz="2800"/>
              <a:t> do consumo de água da rede pública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○"/>
            </a:pPr>
            <a:r>
              <a:rPr lang="pt-BR" sz="2800"/>
              <a:t>86.400 m³/ano                        60.480 m³/ano</a:t>
            </a:r>
            <a:endParaRPr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○"/>
            </a:pPr>
            <a:r>
              <a:rPr lang="pt-BR" sz="2800"/>
              <a:t>Redução do custo de operação em R$135.000,00 anuais</a:t>
            </a:r>
            <a:endParaRPr/>
          </a:p>
          <a:p>
            <a:pPr marL="685800" lvl="1" indent="-50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 sz="2800"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●"/>
            </a:pPr>
            <a:r>
              <a:rPr lang="pt-BR"/>
              <a:t>Indicador de Desempenho CETESB: </a:t>
            </a:r>
            <a:r>
              <a:rPr lang="pt-BR">
                <a:solidFill>
                  <a:srgbClr val="00B0F0"/>
                </a:solidFill>
              </a:rPr>
              <a:t>46,52 litros</a:t>
            </a:r>
            <a:r>
              <a:rPr lang="pt-BR"/>
              <a:t> </a:t>
            </a:r>
            <a:r>
              <a:rPr lang="pt-BR">
                <a:solidFill>
                  <a:srgbClr val="00B0F0"/>
                </a:solidFill>
              </a:rPr>
              <a:t>de água </a:t>
            </a:r>
            <a:r>
              <a:rPr lang="pt-BR"/>
              <a:t>por unidade produzida</a:t>
            </a:r>
            <a:endParaRPr/>
          </a:p>
          <a:p>
            <a:pPr marL="457200" lvl="1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 sz="2800"/>
          </a:p>
          <a:p>
            <a:pPr marL="685800" lvl="1" indent="-50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</a:pPr>
            <a:endParaRPr sz="2800"/>
          </a:p>
          <a:p>
            <a:pPr marL="685800" lvl="1" indent="-50800" algn="l" rtl="0">
              <a:lnSpc>
                <a:spcPct val="90000"/>
              </a:lnSpc>
              <a:spcBef>
                <a:spcPts val="500"/>
              </a:spcBef>
              <a:spcAft>
                <a:spcPts val="2100"/>
              </a:spcAft>
              <a:buClr>
                <a:schemeClr val="dk1"/>
              </a:buClr>
              <a:buSzPts val="2800"/>
              <a:buNone/>
            </a:pPr>
            <a:endParaRPr sz="2800"/>
          </a:p>
        </p:txBody>
      </p:sp>
      <p:cxnSp>
        <p:nvCxnSpPr>
          <p:cNvPr id="87" name="Google Shape;87;p17"/>
          <p:cNvCxnSpPr/>
          <p:nvPr/>
        </p:nvCxnSpPr>
        <p:spPr>
          <a:xfrm>
            <a:off x="4037428" y="3896751"/>
            <a:ext cx="1463040" cy="0"/>
          </a:xfrm>
          <a:prstGeom prst="straightConnector1">
            <a:avLst/>
          </a:prstGeom>
          <a:noFill/>
          <a:ln w="66675" cap="flat" cmpd="sng">
            <a:solidFill>
              <a:schemeClr val="dk1"/>
            </a:solidFill>
            <a:prstDash val="solid"/>
            <a:miter lim="800000"/>
            <a:headEnd type="none" w="sm" len="sm"/>
            <a:tailEnd type="triangle" w="med" len="med"/>
          </a:ln>
        </p:spPr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18"/>
          <p:cNvSpPr txBox="1">
            <a:spLocks noGrp="1"/>
          </p:cNvSpPr>
          <p:nvPr>
            <p:ph type="body" idx="1"/>
          </p:nvPr>
        </p:nvSpPr>
        <p:spPr>
          <a:xfrm>
            <a:off x="838200" y="379828"/>
            <a:ext cx="10515600" cy="5797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2100"/>
              </a:spcAft>
              <a:buClr>
                <a:schemeClr val="dk1"/>
              </a:buClr>
              <a:buSzPts val="2800"/>
              <a:buChar char="●"/>
            </a:pPr>
            <a:r>
              <a:rPr lang="pt-BR"/>
              <a:t>Estudos para uma implementação futura de tratamento por osmose reversa ou desmineralização da água, possibilitando 100% de reaproveitamento da água em processos que requerem melhor qualidade da água de reuso, como preparo de esmalte</a:t>
            </a:r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19"/>
          <p:cNvSpPr txBox="1">
            <a:spLocks noGrp="1"/>
          </p:cNvSpPr>
          <p:nvPr>
            <p:ph type="ctrTitle"/>
          </p:nvPr>
        </p:nvSpPr>
        <p:spPr>
          <a:xfrm>
            <a:off x="4128458" y="2372850"/>
            <a:ext cx="3935100" cy="211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000"/>
              <a:t>Caso 30:</a:t>
            </a:r>
            <a:endParaRPr sz="3000"/>
          </a:p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pt-BR" sz="3500"/>
              <a:t>Redução de toxicidade na linha de E-Coat</a:t>
            </a:r>
            <a:endParaRPr sz="350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0"/>
          <p:cNvSpPr txBox="1">
            <a:spLocks noGrp="1"/>
          </p:cNvSpPr>
          <p:nvPr>
            <p:ph type="body" idx="1"/>
          </p:nvPr>
        </p:nvSpPr>
        <p:spPr>
          <a:xfrm>
            <a:off x="838200" y="379825"/>
            <a:ext cx="10760400" cy="57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Char char="●"/>
            </a:pPr>
            <a:r>
              <a:rPr lang="pt-BR">
                <a:solidFill>
                  <a:schemeClr val="dk1"/>
                </a:solidFill>
              </a:rPr>
              <a:t>Produção anual média:</a:t>
            </a:r>
            <a:r>
              <a:rPr lang="pt-BR"/>
              <a:t> 7,3 mi Estampados; 1,3 mi Rodas; 510k Conjuntos Montados; e 64k Chassis</a:t>
            </a:r>
            <a:endParaRPr/>
          </a:p>
          <a:p>
            <a:pPr marL="228600" lvl="0" indent="-228600" algn="l" rtl="0">
              <a:spcBef>
                <a:spcPts val="2100"/>
              </a:spcBef>
              <a:spcAft>
                <a:spcPts val="0"/>
              </a:spcAft>
              <a:buSzPts val="2800"/>
              <a:buChar char="●"/>
            </a:pPr>
            <a:r>
              <a:rPr lang="pt-BR">
                <a:solidFill>
                  <a:schemeClr val="dk1"/>
                </a:solidFill>
              </a:rPr>
              <a:t>Oportunidades de implantação:</a:t>
            </a:r>
            <a:r>
              <a:rPr lang="pt-BR"/>
              <a:t> passivação (anticorrosão); e eletroforese (E-Coat) contendo tinta com 1500 ppm de Pb</a:t>
            </a:r>
            <a:endParaRPr/>
          </a:p>
          <a:p>
            <a:pPr marL="228600" lvl="0" indent="-228600" algn="l" rtl="0">
              <a:spcBef>
                <a:spcPts val="2100"/>
              </a:spcBef>
              <a:spcAft>
                <a:spcPts val="0"/>
              </a:spcAft>
              <a:buSzPts val="2800"/>
              <a:buChar char="●"/>
            </a:pPr>
            <a:r>
              <a:rPr lang="pt-BR">
                <a:solidFill>
                  <a:schemeClr val="dk1"/>
                </a:solidFill>
              </a:rPr>
              <a:t>Disposição: </a:t>
            </a:r>
            <a:r>
              <a:rPr lang="pt-BR"/>
              <a:t>efluentes com cromo para a ETDI de forma descontínua e em grande quantidade; e água de lavagem com parte do chumbo para a ETDI, em baixas concentrações</a:t>
            </a:r>
            <a:endParaRPr/>
          </a:p>
          <a:p>
            <a:pPr marL="0" lvl="0" indent="0" algn="l" rtl="0">
              <a:lnSpc>
                <a:spcPct val="90000"/>
              </a:lnSpc>
              <a:spcBef>
                <a:spcPts val="2100"/>
              </a:spcBef>
              <a:spcAft>
                <a:spcPts val="2100"/>
              </a:spcAft>
              <a:buNone/>
            </a:pPr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1"/>
          <p:cNvSpPr txBox="1">
            <a:spLocks noGrp="1"/>
          </p:cNvSpPr>
          <p:nvPr>
            <p:ph type="body" idx="1"/>
          </p:nvPr>
        </p:nvSpPr>
        <p:spPr>
          <a:xfrm>
            <a:off x="838200" y="379825"/>
            <a:ext cx="11004000" cy="579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Char char="●"/>
            </a:pPr>
            <a:r>
              <a:rPr lang="pt-BR">
                <a:solidFill>
                  <a:schemeClr val="dk1"/>
                </a:solidFill>
              </a:rPr>
              <a:t>Avaliação econômica: </a:t>
            </a:r>
            <a:endParaRPr/>
          </a:p>
          <a:p>
            <a:pPr marL="685800" lvl="1" indent="-2921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2800"/>
              <a:buChar char="○"/>
            </a:pPr>
            <a:r>
              <a:rPr lang="pt-BR"/>
              <a:t>MP na passivação:  R$ 310,00/mês a mais para nova formulação</a:t>
            </a:r>
            <a:endParaRPr/>
          </a:p>
          <a:p>
            <a:pPr marL="685800" lvl="1" indent="-292100" algn="l" rtl="0">
              <a:lnSpc>
                <a:spcPct val="90000"/>
              </a:lnSpc>
              <a:spcBef>
                <a:spcPts val="2100"/>
              </a:spcBef>
              <a:spcAft>
                <a:spcPts val="0"/>
              </a:spcAft>
              <a:buClr>
                <a:schemeClr val="dk1"/>
              </a:buClr>
              <a:buSzPts val="2800"/>
              <a:buChar char="○"/>
            </a:pPr>
            <a:r>
              <a:rPr lang="pt-BR"/>
              <a:t>E.Coat: R$ 230.000,00 em tubulações e bombas de aço inox</a:t>
            </a:r>
            <a:endParaRPr/>
          </a:p>
          <a:p>
            <a:pPr marL="228600" lvl="0" indent="-228600" algn="l" rtl="0">
              <a:spcBef>
                <a:spcPts val="2100"/>
              </a:spcBef>
              <a:spcAft>
                <a:spcPts val="0"/>
              </a:spcAft>
              <a:buSzPts val="2800"/>
              <a:buChar char="●"/>
            </a:pPr>
            <a:r>
              <a:rPr lang="pt-BR">
                <a:solidFill>
                  <a:schemeClr val="dk1"/>
                </a:solidFill>
              </a:rPr>
              <a:t>Levantamento de tecnologias e implementação de P+L:</a:t>
            </a:r>
            <a:r>
              <a:rPr lang="pt-BR"/>
              <a:t> </a:t>
            </a:r>
            <a:endParaRPr/>
          </a:p>
          <a:p>
            <a:pPr marL="685800" lvl="1" indent="-292100" algn="l" rtl="0">
              <a:spcBef>
                <a:spcPts val="2100"/>
              </a:spcBef>
              <a:spcAft>
                <a:spcPts val="0"/>
              </a:spcAft>
              <a:buSzPts val="2800"/>
              <a:buChar char="○"/>
            </a:pPr>
            <a:r>
              <a:rPr lang="pt-BR"/>
              <a:t>Eliminar Cromo VI na passivação: produto à base de potássio-hexafluoreto de zircônio</a:t>
            </a:r>
            <a:endParaRPr/>
          </a:p>
          <a:p>
            <a:pPr marL="685800" lvl="1" indent="-292100" algn="l" rtl="0">
              <a:spcBef>
                <a:spcPts val="2100"/>
              </a:spcBef>
              <a:spcAft>
                <a:spcPts val="2100"/>
              </a:spcAft>
              <a:buSzPts val="2800"/>
              <a:buChar char="○"/>
            </a:pPr>
            <a:r>
              <a:rPr lang="pt-BR"/>
              <a:t>Eliminar Chumbo no banho de E-coat: banho convencional, com troca de tubos e bombas por aço inox, devido ao pH</a:t>
            </a:r>
            <a:endParaRPr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DS8WpL9XLC_KHkRoDqmg"/>
</p:tagLst>
</file>

<file path=ppt/theme/theme1.xml><?xml version="1.0" encoding="utf-8"?>
<a:theme xmlns:a="http://schemas.openxmlformats.org/drawingml/2006/main" name="Coral">
  <a:themeElements>
    <a:clrScheme name="Coral">
      <a:dk1>
        <a:srgbClr val="F55E61"/>
      </a:dk1>
      <a:lt1>
        <a:srgbClr val="FFFFFF"/>
      </a:lt1>
      <a:dk2>
        <a:srgbClr val="5E696C"/>
      </a:dk2>
      <a:lt2>
        <a:srgbClr val="BFC7CA"/>
      </a:lt2>
      <a:accent1>
        <a:srgbClr val="1E2D31"/>
      </a:accent1>
      <a:accent2>
        <a:srgbClr val="273C42"/>
      </a:accent2>
      <a:accent3>
        <a:srgbClr val="83D061"/>
      </a:accent3>
      <a:accent4>
        <a:srgbClr val="F6CD4C"/>
      </a:accent4>
      <a:accent5>
        <a:srgbClr val="AF4345"/>
      </a:accent5>
      <a:accent6>
        <a:srgbClr val="F58F8F"/>
      </a:accent6>
      <a:hlink>
        <a:srgbClr val="AF4345"/>
      </a:hlink>
      <a:folHlink>
        <a:srgbClr val="AF4345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797</Words>
  <Application>Microsoft Office PowerPoint</Application>
  <PresentationFormat>Widescreen</PresentationFormat>
  <Paragraphs>95</Paragraphs>
  <Slides>1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Lato</vt:lpstr>
      <vt:lpstr>Arial</vt:lpstr>
      <vt:lpstr>Playfair Display</vt:lpstr>
      <vt:lpstr>Trebuchet MS</vt:lpstr>
      <vt:lpstr>Calibri</vt:lpstr>
      <vt:lpstr>Coral</vt:lpstr>
      <vt:lpstr>think-cell Slide</vt:lpstr>
      <vt:lpstr>PHA3513: Sustentabilidade no Setor Produtivo</vt:lpstr>
      <vt:lpstr>Apresentaremos 3 casos de Produção mais Limpa que trouxeram impactos financeiros e ambientais na indústria</vt:lpstr>
      <vt:lpstr>Caso 11: Redução do consumo de água na indústria metalúrgica</vt:lpstr>
      <vt:lpstr>PowerPoint Presentation</vt:lpstr>
      <vt:lpstr>PowerPoint Presentation</vt:lpstr>
      <vt:lpstr>PowerPoint Presentation</vt:lpstr>
      <vt:lpstr>Caso 30: Redução de toxicidade na linha de E-Coat</vt:lpstr>
      <vt:lpstr>PowerPoint Presentation</vt:lpstr>
      <vt:lpstr>PowerPoint Presentation</vt:lpstr>
      <vt:lpstr>PowerPoint Presentation</vt:lpstr>
      <vt:lpstr>Caso 33: Reutilização de solução de soda cáustica na ET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A3513: Sustentabilidade no Setor Produtivo</dc:title>
  <dc:creator>Venancio, Victor</dc:creator>
  <cp:lastModifiedBy>Venancio, Victor</cp:lastModifiedBy>
  <cp:revision>1</cp:revision>
  <dcterms:modified xsi:type="dcterms:W3CDTF">2020-03-27T12:47:33Z</dcterms:modified>
</cp:coreProperties>
</file>